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4" r:id="rId4"/>
    <p:sldMasterId id="2147483704" r:id="rId5"/>
    <p:sldMasterId id="2147483720" r:id="rId6"/>
    <p:sldMasterId id="2147483736" r:id="rId7"/>
    <p:sldMasterId id="2147483752" r:id="rId8"/>
    <p:sldMasterId id="2147483784" r:id="rId9"/>
    <p:sldMasterId id="2147483768" r:id="rId10"/>
  </p:sldMasterIdLst>
  <p:notesMasterIdLst>
    <p:notesMasterId r:id="rId50"/>
  </p:notesMasterIdLst>
  <p:handoutMasterIdLst>
    <p:handoutMasterId r:id="rId51"/>
  </p:handoutMasterIdLst>
  <p:sldIdLst>
    <p:sldId id="283" r:id="rId11"/>
    <p:sldId id="2147478963" r:id="rId12"/>
    <p:sldId id="2147478977" r:id="rId13"/>
    <p:sldId id="2147478978" r:id="rId14"/>
    <p:sldId id="2147478979" r:id="rId15"/>
    <p:sldId id="2147478980" r:id="rId16"/>
    <p:sldId id="2147478981" r:id="rId17"/>
    <p:sldId id="2147479003" r:id="rId18"/>
    <p:sldId id="2147479004" r:id="rId19"/>
    <p:sldId id="2147478976" r:id="rId20"/>
    <p:sldId id="2147478984" r:id="rId21"/>
    <p:sldId id="2145707597" r:id="rId22"/>
    <p:sldId id="301" r:id="rId23"/>
    <p:sldId id="2147478998" r:id="rId24"/>
    <p:sldId id="2145707603" r:id="rId25"/>
    <p:sldId id="2147478999" r:id="rId26"/>
    <p:sldId id="2147479000" r:id="rId27"/>
    <p:sldId id="2147478997" r:id="rId28"/>
    <p:sldId id="2147478988" r:id="rId29"/>
    <p:sldId id="2147478985" r:id="rId30"/>
    <p:sldId id="2145707462" r:id="rId31"/>
    <p:sldId id="267" r:id="rId32"/>
    <p:sldId id="2147479002" r:id="rId33"/>
    <p:sldId id="2147478968" r:id="rId34"/>
    <p:sldId id="2147478989" r:id="rId35"/>
    <p:sldId id="2147478986" r:id="rId36"/>
    <p:sldId id="2147478941" r:id="rId37"/>
    <p:sldId id="278" r:id="rId38"/>
    <p:sldId id="2147478994" r:id="rId39"/>
    <p:sldId id="2147478993" r:id="rId40"/>
    <p:sldId id="277" r:id="rId41"/>
    <p:sldId id="2147478995" r:id="rId42"/>
    <p:sldId id="2147478996" r:id="rId43"/>
    <p:sldId id="2147479001" r:id="rId44"/>
    <p:sldId id="2147478990" r:id="rId45"/>
    <p:sldId id="557" r:id="rId46"/>
    <p:sldId id="2147478992" r:id="rId47"/>
    <p:sldId id="2147478991" r:id="rId48"/>
    <p:sldId id="2145707437" r:id="rId49"/>
  </p:sldIdLst>
  <p:sldSz cx="12192000" cy="6858000"/>
  <p:notesSz cx="7010400" cy="92964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Title" id="{A311F01F-62B6-413F-A216-2DB66A9E5AB0}">
          <p14:sldIdLst>
            <p14:sldId id="283"/>
            <p14:sldId id="2147478963"/>
            <p14:sldId id="2147478977"/>
            <p14:sldId id="2147478978"/>
            <p14:sldId id="2147478979"/>
            <p14:sldId id="2147478980"/>
            <p14:sldId id="2147478981"/>
            <p14:sldId id="2147479003"/>
            <p14:sldId id="2147479004"/>
            <p14:sldId id="2147478976"/>
            <p14:sldId id="2147478984"/>
            <p14:sldId id="2145707597"/>
            <p14:sldId id="301"/>
            <p14:sldId id="2147478998"/>
            <p14:sldId id="2145707603"/>
            <p14:sldId id="2147478999"/>
            <p14:sldId id="2147479000"/>
            <p14:sldId id="2147478997"/>
            <p14:sldId id="2147478988"/>
          </p14:sldIdLst>
        </p14:section>
        <p14:section name="Implementation - LOCAL-REG" id="{A55F9D19-B363-446D-9572-2481EDBCC017}">
          <p14:sldIdLst>
            <p14:sldId id="2147478985"/>
            <p14:sldId id="2145707462"/>
            <p14:sldId id="267"/>
            <p14:sldId id="2147479002"/>
            <p14:sldId id="2147478968"/>
          </p14:sldIdLst>
        </p14:section>
        <p14:section name="Implementation-STATE" id="{952FE2A5-D4E8-431A-BBAB-037B1E17E728}">
          <p14:sldIdLst>
            <p14:sldId id="2147478989"/>
            <p14:sldId id="2147478986"/>
            <p14:sldId id="2147478941"/>
            <p14:sldId id="278"/>
            <p14:sldId id="2147478994"/>
            <p14:sldId id="2147478993"/>
            <p14:sldId id="277"/>
            <p14:sldId id="2147478995"/>
            <p14:sldId id="2147478996"/>
            <p14:sldId id="2147479001"/>
            <p14:sldId id="2147478990"/>
            <p14:sldId id="557"/>
            <p14:sldId id="2147478992"/>
            <p14:sldId id="2147478991"/>
            <p14:sldId id="21457074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8" roundtripDataSignature="AMtx7mgiEQzM15yImlSdMhu3IxpNo6DnM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AD1521-0B81-83FE-B30F-D14E42CF70BB}" name="Mazzetti, Bella (HEALTH)" initials="BM" userId="S::Bella.Mazzetti2@health.ny.gov::e2db6a60-4785-4e8c-9d7d-6c1e2d5924cf" providerId="AD"/>
  <p188:author id="{62682022-D367-C4FA-B235-DB5B15FA4EEB}" name="Mazzetti, Bella (HEALTH)" initials="MB" userId="S::bella.mazzetti2@health.ny.gov::e2db6a60-4785-4e8c-9d7d-6c1e2d5924cf" providerId="AD"/>
  <p188:author id="{F45FE536-6F10-CFFC-D379-7E8445F0FCC7}" name="Waldenmaier, Mark (HEALTH)" initials="MW" userId="S::mark.waldenmaier@health.ny.gov::3890a5ce-a2b4-4a21-8966-214efee933d6" providerId="AD"/>
  <p188:author id="{8B6EF551-FB1F-5165-6574-7C8AC4CDB13F}" name="Alaali, Zahra S (HEALTH)" initials="ZA" userId="S::zahra.alaali@health.ny.gov::e472fd58-aee6-4d6d-8f69-98bd7d3fdd87" providerId="AD"/>
  <p188:author id="{94DD859C-0575-A000-A766-FB8A6885A1CB}" name="Patterson, Meredith (HEALTH)" initials="PM" userId="S::meredith.patterson@health.ny.gov::12ee1e50-f088-457f-bbd4-dc4b5f7b6f40" providerId="AD"/>
  <p188:author id="{2BE06DA9-4E06-1FF0-0A2A-06DC2EEED3BF}" name="Connell, Kathryn (HEALTH)" initials="" userId="S::Kathryn.Connell@health.ny.gov::0667a4ed-4a50-4704-8d21-fc8e9f23fe34" providerId="AD"/>
  <p188:author id="{6F5243C8-CE66-ED6C-7BB1-97BECF9969F6}" name="Connell, Kathryn (HEALTH)" initials="CK" userId="S::kathryn.connell@health.ny.gov::0667a4ed-4a50-4704-8d21-fc8e9f23fe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9CD00"/>
    <a:srgbClr val="533C6D"/>
    <a:srgbClr val="22132E"/>
    <a:srgbClr val="43275D"/>
    <a:srgbClr val="D3D1D5"/>
    <a:srgbClr val="212121"/>
    <a:srgbClr val="29183C"/>
    <a:srgbClr val="4328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BE6073-2234-4D6F-8224-7CFE31CBD7F2}" v="7" dt="2026-02-18T15:37:54.8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27" autoAdjust="0"/>
    <p:restoredTop sz="95201" autoAdjust="0"/>
  </p:normalViewPr>
  <p:slideViewPr>
    <p:cSldViewPr snapToGrid="0">
      <p:cViewPr varScale="1">
        <p:scale>
          <a:sx n="86" d="100"/>
          <a:sy n="86" d="100"/>
        </p:scale>
        <p:origin x="22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notesMaster" Target="notesMasters/notesMaster1.xml"/><Relationship Id="rId68" Type="http://customschemas.google.com/relationships/presentationmetadata" Target="metadata"/><Relationship Id="rId7" Type="http://schemas.openxmlformats.org/officeDocument/2006/relationships/slideMaster" Target="slideMasters/slideMaster4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7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handoutMaster" Target="handoutMasters/handoutMaster1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70" Type="http://schemas.openxmlformats.org/officeDocument/2006/relationships/viewProps" Target="viewProps.xml"/><Relationship Id="rId75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7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zzetti, Bella (HEALTH)" userId="S::bella.mazzetti2@health.ny.gov::e2db6a60-4785-4e8c-9d7d-6c1e2d5924cf" providerId="AD" clId="Web-{B0E785D8-2D10-0666-FC04-3ACF85C47DA8}"/>
    <pc:docChg chg="modSld">
      <pc:chgData name="Mazzetti, Bella (HEALTH)" userId="S::bella.mazzetti2@health.ny.gov::e2db6a60-4785-4e8c-9d7d-6c1e2d5924cf" providerId="AD" clId="Web-{B0E785D8-2D10-0666-FC04-3ACF85C47DA8}" dt="2025-08-21T16:39:56.443" v="2" actId="20577"/>
      <pc:docMkLst>
        <pc:docMk/>
      </pc:docMkLst>
      <pc:sldChg chg="modSp">
        <pc:chgData name="Mazzetti, Bella (HEALTH)" userId="S::bella.mazzetti2@health.ny.gov::e2db6a60-4785-4e8c-9d7d-6c1e2d5924cf" providerId="AD" clId="Web-{B0E785D8-2D10-0666-FC04-3ACF85C47DA8}" dt="2025-08-21T16:39:56.443" v="2" actId="20577"/>
        <pc:sldMkLst>
          <pc:docMk/>
          <pc:sldMk cId="593490138" sldId="2147478968"/>
        </pc:sldMkLst>
      </pc:sldChg>
      <pc:sldChg chg="addSp delSp modSp">
        <pc:chgData name="Mazzetti, Bella (HEALTH)" userId="S::bella.mazzetti2@health.ny.gov::e2db6a60-4785-4e8c-9d7d-6c1e2d5924cf" providerId="AD" clId="Web-{B0E785D8-2D10-0666-FC04-3ACF85C47DA8}" dt="2025-08-21T13:19:42.600" v="0"/>
        <pc:sldMkLst>
          <pc:docMk/>
          <pc:sldMk cId="2698280640" sldId="2147478969"/>
        </pc:sldMkLst>
      </pc:sldChg>
    </pc:docChg>
  </pc:docChgLst>
  <pc:docChgLst>
    <pc:chgData name="Waldenmaier, Mark (HEALTH)" userId="3890a5ce-a2b4-4a21-8966-214efee933d6" providerId="ADAL" clId="{3FFDED9B-E90B-4183-BF42-3B97DF37A938}"/>
    <pc:docChg chg="modSld">
      <pc:chgData name="Waldenmaier, Mark (HEALTH)" userId="3890a5ce-a2b4-4a21-8966-214efee933d6" providerId="ADAL" clId="{3FFDED9B-E90B-4183-BF42-3B97DF37A938}" dt="2025-12-31T15:39:35.503" v="62" actId="5793"/>
      <pc:docMkLst>
        <pc:docMk/>
      </pc:docMkLst>
      <pc:sldChg chg="modSp mod">
        <pc:chgData name="Waldenmaier, Mark (HEALTH)" userId="3890a5ce-a2b4-4a21-8966-214efee933d6" providerId="ADAL" clId="{3FFDED9B-E90B-4183-BF42-3B97DF37A938}" dt="2025-11-25T18:39:21.789" v="6" actId="20577"/>
        <pc:sldMkLst>
          <pc:docMk/>
          <pc:sldMk cId="1936778481" sldId="283"/>
        </pc:sldMkLst>
      </pc:sldChg>
      <pc:sldChg chg="modSp mod">
        <pc:chgData name="Waldenmaier, Mark (HEALTH)" userId="3890a5ce-a2b4-4a21-8966-214efee933d6" providerId="ADAL" clId="{3FFDED9B-E90B-4183-BF42-3B97DF37A938}" dt="2025-11-25T18:39:53.235" v="41" actId="20577"/>
        <pc:sldMkLst>
          <pc:docMk/>
          <pc:sldMk cId="1525139702" sldId="2145707603"/>
        </pc:sldMkLst>
      </pc:sldChg>
      <pc:sldChg chg="modSp mod">
        <pc:chgData name="Waldenmaier, Mark (HEALTH)" userId="3890a5ce-a2b4-4a21-8966-214efee933d6" providerId="ADAL" clId="{3FFDED9B-E90B-4183-BF42-3B97DF37A938}" dt="2025-11-25T18:40:49.020" v="48" actId="20577"/>
        <pc:sldMkLst>
          <pc:docMk/>
          <pc:sldMk cId="1537627176" sldId="2147478976"/>
        </pc:sldMkLst>
      </pc:sldChg>
      <pc:sldChg chg="modNotesTx">
        <pc:chgData name="Waldenmaier, Mark (HEALTH)" userId="3890a5ce-a2b4-4a21-8966-214efee933d6" providerId="ADAL" clId="{3FFDED9B-E90B-4183-BF42-3B97DF37A938}" dt="2025-12-31T15:39:35.503" v="62" actId="5793"/>
        <pc:sldMkLst>
          <pc:docMk/>
          <pc:sldMk cId="3442634758" sldId="2147478996"/>
        </pc:sldMkLst>
      </pc:sldChg>
    </pc:docChg>
  </pc:docChgLst>
  <pc:docChgLst>
    <pc:chgData name="Waldenmaier, Mark (HEALTH)" userId="3890a5ce-a2b4-4a21-8966-214efee933d6" providerId="ADAL" clId="{1DDAA30E-8C06-453B-9422-6CD65B96247E}"/>
    <pc:docChg chg="undo custSel addSld delSld modSld sldOrd modSection modNotesMaster modHandout">
      <pc:chgData name="Waldenmaier, Mark (HEALTH)" userId="3890a5ce-a2b4-4a21-8966-214efee933d6" providerId="ADAL" clId="{1DDAA30E-8C06-453B-9422-6CD65B96247E}" dt="2026-02-18T15:37:54.858" v="1885"/>
      <pc:docMkLst>
        <pc:docMk/>
      </pc:docMkLst>
      <pc:sldChg chg="addSp delSp modSp mod delAnim modAnim">
        <pc:chgData name="Waldenmaier, Mark (HEALTH)" userId="3890a5ce-a2b4-4a21-8966-214efee933d6" providerId="ADAL" clId="{1DDAA30E-8C06-453B-9422-6CD65B96247E}" dt="2026-01-30T14:56:50.875" v="258" actId="14100"/>
        <pc:sldMkLst>
          <pc:docMk/>
          <pc:sldMk cId="127716727" sldId="267"/>
        </pc:sldMkLst>
        <pc:spChg chg="mod">
          <ac:chgData name="Waldenmaier, Mark (HEALTH)" userId="3890a5ce-a2b4-4a21-8966-214efee933d6" providerId="ADAL" clId="{1DDAA30E-8C06-453B-9422-6CD65B96247E}" dt="2026-01-30T14:46:51.153" v="115" actId="1076"/>
          <ac:spMkLst>
            <pc:docMk/>
            <pc:sldMk cId="127716727" sldId="267"/>
            <ac:spMk id="3" creationId="{9AB057D0-E536-3421-35E8-E9BBCCD2228D}"/>
          </ac:spMkLst>
        </pc:spChg>
        <pc:spChg chg="mod">
          <ac:chgData name="Waldenmaier, Mark (HEALTH)" userId="3890a5ce-a2b4-4a21-8966-214efee933d6" providerId="ADAL" clId="{1DDAA30E-8C06-453B-9422-6CD65B96247E}" dt="2026-01-30T14:30:42.316" v="65" actId="207"/>
          <ac:spMkLst>
            <pc:docMk/>
            <pc:sldMk cId="127716727" sldId="267"/>
            <ac:spMk id="12" creationId="{087E8B6B-7693-3B7F-DD73-325288ABB801}"/>
          </ac:spMkLst>
        </pc:spChg>
        <pc:spChg chg="add mod">
          <ac:chgData name="Waldenmaier, Mark (HEALTH)" userId="3890a5ce-a2b4-4a21-8966-214efee933d6" providerId="ADAL" clId="{1DDAA30E-8C06-453B-9422-6CD65B96247E}" dt="2026-01-30T14:56:50.875" v="258" actId="14100"/>
          <ac:spMkLst>
            <pc:docMk/>
            <pc:sldMk cId="127716727" sldId="267"/>
            <ac:spMk id="15" creationId="{E6C35D98-B2BD-999D-B5A9-CAFE26246D94}"/>
          </ac:spMkLst>
        </pc:spChg>
        <pc:grpChg chg="mod">
          <ac:chgData name="Waldenmaier, Mark (HEALTH)" userId="3890a5ce-a2b4-4a21-8966-214efee933d6" providerId="ADAL" clId="{1DDAA30E-8C06-453B-9422-6CD65B96247E}" dt="2026-01-30T14:56:39.816" v="256" actId="1076"/>
          <ac:grpSpMkLst>
            <pc:docMk/>
            <pc:sldMk cId="127716727" sldId="267"/>
            <ac:grpSpMk id="2" creationId="{A8C3EA82-5F56-724F-5ACF-E10219DA7606}"/>
          </ac:grpSpMkLst>
        </pc:grpChg>
      </pc:sldChg>
      <pc:sldChg chg="modSp mod modNotesTx">
        <pc:chgData name="Waldenmaier, Mark (HEALTH)" userId="3890a5ce-a2b4-4a21-8966-214efee933d6" providerId="ADAL" clId="{1DDAA30E-8C06-453B-9422-6CD65B96247E}" dt="2026-02-17T21:43:33.243" v="1871" actId="1076"/>
        <pc:sldMkLst>
          <pc:docMk/>
          <pc:sldMk cId="1522581280" sldId="277"/>
        </pc:sldMkLst>
        <pc:spChg chg="mod">
          <ac:chgData name="Waldenmaier, Mark (HEALTH)" userId="3890a5ce-a2b4-4a21-8966-214efee933d6" providerId="ADAL" clId="{1DDAA30E-8C06-453B-9422-6CD65B96247E}" dt="2026-02-17T19:19:47.134" v="1821" actId="6549"/>
          <ac:spMkLst>
            <pc:docMk/>
            <pc:sldMk cId="1522581280" sldId="277"/>
            <ac:spMk id="4" creationId="{1F99A06C-B61B-F1CC-9AB9-04C07908C019}"/>
          </ac:spMkLst>
        </pc:spChg>
        <pc:spChg chg="mod">
          <ac:chgData name="Waldenmaier, Mark (HEALTH)" userId="3890a5ce-a2b4-4a21-8966-214efee933d6" providerId="ADAL" clId="{1DDAA30E-8C06-453B-9422-6CD65B96247E}" dt="2026-02-17T21:43:33.243" v="1871" actId="1076"/>
          <ac:spMkLst>
            <pc:docMk/>
            <pc:sldMk cId="1522581280" sldId="277"/>
            <ac:spMk id="7" creationId="{42AEB036-A28B-493F-DAA3-EF6674246ECC}"/>
          </ac:spMkLst>
        </pc:spChg>
      </pc:sldChg>
      <pc:sldChg chg="modSp del mod">
        <pc:chgData name="Waldenmaier, Mark (HEALTH)" userId="3890a5ce-a2b4-4a21-8966-214efee933d6" providerId="ADAL" clId="{1DDAA30E-8C06-453B-9422-6CD65B96247E}" dt="2026-02-13T16:31:27.289" v="1434" actId="47"/>
        <pc:sldMkLst>
          <pc:docMk/>
          <pc:sldMk cId="3779515025" sldId="281"/>
        </pc:sldMkLst>
      </pc:sldChg>
      <pc:sldChg chg="modSp mod">
        <pc:chgData name="Waldenmaier, Mark (HEALTH)" userId="3890a5ce-a2b4-4a21-8966-214efee933d6" providerId="ADAL" clId="{1DDAA30E-8C06-453B-9422-6CD65B96247E}" dt="2026-01-30T14:27:46.119" v="37" actId="20577"/>
        <pc:sldMkLst>
          <pc:docMk/>
          <pc:sldMk cId="1936778481" sldId="283"/>
        </pc:sldMkLst>
        <pc:spChg chg="mod">
          <ac:chgData name="Waldenmaier, Mark (HEALTH)" userId="3890a5ce-a2b4-4a21-8966-214efee933d6" providerId="ADAL" clId="{1DDAA30E-8C06-453B-9422-6CD65B96247E}" dt="2026-01-30T14:27:46.119" v="37" actId="20577"/>
          <ac:spMkLst>
            <pc:docMk/>
            <pc:sldMk cId="1936778481" sldId="283"/>
            <ac:spMk id="2" creationId="{C27CC88A-8371-A176-8C5F-C475A58F5323}"/>
          </ac:spMkLst>
        </pc:spChg>
      </pc:sldChg>
      <pc:sldChg chg="modSp mod ord">
        <pc:chgData name="Waldenmaier, Mark (HEALTH)" userId="3890a5ce-a2b4-4a21-8966-214efee933d6" providerId="ADAL" clId="{1DDAA30E-8C06-453B-9422-6CD65B96247E}" dt="2026-02-18T15:12:31.767" v="1874"/>
        <pc:sldMkLst>
          <pc:docMk/>
          <pc:sldMk cId="1457418867" sldId="557"/>
        </pc:sldMkLst>
        <pc:spChg chg="mod">
          <ac:chgData name="Waldenmaier, Mark (HEALTH)" userId="3890a5ce-a2b4-4a21-8966-214efee933d6" providerId="ADAL" clId="{1DDAA30E-8C06-453B-9422-6CD65B96247E}" dt="2026-01-30T14:53:26.749" v="196" actId="1076"/>
          <ac:spMkLst>
            <pc:docMk/>
            <pc:sldMk cId="1457418867" sldId="557"/>
            <ac:spMk id="2" creationId="{4224BDDC-AA65-4472-93F2-B0158BF68929}"/>
          </ac:spMkLst>
        </pc:spChg>
      </pc:sldChg>
      <pc:sldChg chg="addSp delSp modSp add mod modAnim">
        <pc:chgData name="Waldenmaier, Mark (HEALTH)" userId="3890a5ce-a2b4-4a21-8966-214efee933d6" providerId="ADAL" clId="{1DDAA30E-8C06-453B-9422-6CD65B96247E}" dt="2026-02-18T15:37:54.858" v="1885"/>
        <pc:sldMkLst>
          <pc:docMk/>
          <pc:sldMk cId="1726649828" sldId="2145707462"/>
        </pc:sldMkLst>
        <pc:spChg chg="mod">
          <ac:chgData name="Waldenmaier, Mark (HEALTH)" userId="3890a5ce-a2b4-4a21-8966-214efee933d6" providerId="ADAL" clId="{1DDAA30E-8C06-453B-9422-6CD65B96247E}" dt="2026-01-30T14:33:06.969" v="99" actId="403"/>
          <ac:spMkLst>
            <pc:docMk/>
            <pc:sldMk cId="1726649828" sldId="2145707462"/>
            <ac:spMk id="2" creationId="{D06C9E84-4E7E-1824-171C-F6AC53E39E83}"/>
          </ac:spMkLst>
        </pc:spChg>
        <pc:spChg chg="add mod">
          <ac:chgData name="Waldenmaier, Mark (HEALTH)" userId="3890a5ce-a2b4-4a21-8966-214efee933d6" providerId="ADAL" clId="{1DDAA30E-8C06-453B-9422-6CD65B96247E}" dt="2026-01-30T14:55:30.016" v="246" actId="14100"/>
          <ac:spMkLst>
            <pc:docMk/>
            <pc:sldMk cId="1726649828" sldId="2145707462"/>
            <ac:spMk id="7" creationId="{3240744D-9B12-AB28-7E64-72129AD603AC}"/>
          </ac:spMkLst>
        </pc:spChg>
        <pc:spChg chg="mod">
          <ac:chgData name="Waldenmaier, Mark (HEALTH)" userId="3890a5ce-a2b4-4a21-8966-214efee933d6" providerId="ADAL" clId="{1DDAA30E-8C06-453B-9422-6CD65B96247E}" dt="2026-01-30T14:33:31.217" v="109" actId="1076"/>
          <ac:spMkLst>
            <pc:docMk/>
            <pc:sldMk cId="1726649828" sldId="2145707462"/>
            <ac:spMk id="8" creationId="{AC1BFC23-4A26-1BC7-A5BB-C9CF82C59626}"/>
          </ac:spMkLst>
        </pc:spChg>
        <pc:spChg chg="mod">
          <ac:chgData name="Waldenmaier, Mark (HEALTH)" userId="3890a5ce-a2b4-4a21-8966-214efee933d6" providerId="ADAL" clId="{1DDAA30E-8C06-453B-9422-6CD65B96247E}" dt="2026-01-30T14:33:33.491" v="110" actId="1076"/>
          <ac:spMkLst>
            <pc:docMk/>
            <pc:sldMk cId="1726649828" sldId="2145707462"/>
            <ac:spMk id="9" creationId="{C8D5BFC0-00A4-52EC-CE81-B04CA58AB2E9}"/>
          </ac:spMkLst>
        </pc:spChg>
        <pc:spChg chg="add mod">
          <ac:chgData name="Waldenmaier, Mark (HEALTH)" userId="3890a5ce-a2b4-4a21-8966-214efee933d6" providerId="ADAL" clId="{1DDAA30E-8C06-453B-9422-6CD65B96247E}" dt="2026-01-30T14:55:24.483" v="244" actId="1076"/>
          <ac:spMkLst>
            <pc:docMk/>
            <pc:sldMk cId="1726649828" sldId="2145707462"/>
            <ac:spMk id="11" creationId="{D08F5D38-CEE8-22B9-0FA3-307A51C2EADE}"/>
          </ac:spMkLst>
        </pc:spChg>
        <pc:spChg chg="add mod">
          <ac:chgData name="Waldenmaier, Mark (HEALTH)" userId="3890a5ce-a2b4-4a21-8966-214efee933d6" providerId="ADAL" clId="{1DDAA30E-8C06-453B-9422-6CD65B96247E}" dt="2026-01-30T14:55:46.783" v="250" actId="208"/>
          <ac:spMkLst>
            <pc:docMk/>
            <pc:sldMk cId="1726649828" sldId="2145707462"/>
            <ac:spMk id="13" creationId="{37B43399-A7C2-CBA9-D31D-FEA334717C31}"/>
          </ac:spMkLst>
        </pc:spChg>
        <pc:picChg chg="mod">
          <ac:chgData name="Waldenmaier, Mark (HEALTH)" userId="3890a5ce-a2b4-4a21-8966-214efee933d6" providerId="ADAL" clId="{1DDAA30E-8C06-453B-9422-6CD65B96247E}" dt="2026-01-30T14:55:19.893" v="243" actId="1076"/>
          <ac:picMkLst>
            <pc:docMk/>
            <pc:sldMk cId="1726649828" sldId="2145707462"/>
            <ac:picMk id="12" creationId="{C5D9E06E-2D85-09CA-8A96-8C7E16FBE658}"/>
          </ac:picMkLst>
        </pc:picChg>
      </pc:sldChg>
      <pc:sldChg chg="modSp mod">
        <pc:chgData name="Waldenmaier, Mark (HEALTH)" userId="3890a5ce-a2b4-4a21-8966-214efee933d6" providerId="ADAL" clId="{1DDAA30E-8C06-453B-9422-6CD65B96247E}" dt="2026-02-17T19:26:33.159" v="1870" actId="13926"/>
        <pc:sldMkLst>
          <pc:docMk/>
          <pc:sldMk cId="417625643" sldId="2145707597"/>
        </pc:sldMkLst>
        <pc:spChg chg="mod">
          <ac:chgData name="Waldenmaier, Mark (HEALTH)" userId="3890a5ce-a2b4-4a21-8966-214efee933d6" providerId="ADAL" clId="{1DDAA30E-8C06-453B-9422-6CD65B96247E}" dt="2026-02-11T12:58:05.042" v="1183" actId="1076"/>
          <ac:spMkLst>
            <pc:docMk/>
            <pc:sldMk cId="417625643" sldId="2145707597"/>
            <ac:spMk id="19" creationId="{7C8DB71F-B403-7A2E-2249-E2AE392894FD}"/>
          </ac:spMkLst>
        </pc:spChg>
        <pc:spChg chg="mod">
          <ac:chgData name="Waldenmaier, Mark (HEALTH)" userId="3890a5ce-a2b4-4a21-8966-214efee933d6" providerId="ADAL" clId="{1DDAA30E-8C06-453B-9422-6CD65B96247E}" dt="2026-02-11T12:57:58.995" v="1182" actId="1076"/>
          <ac:spMkLst>
            <pc:docMk/>
            <pc:sldMk cId="417625643" sldId="2145707597"/>
            <ac:spMk id="25" creationId="{4E83C4AA-9ABE-F7EF-4BD8-098FBFE6A96A}"/>
          </ac:spMkLst>
        </pc:spChg>
        <pc:spChg chg="mod">
          <ac:chgData name="Waldenmaier, Mark (HEALTH)" userId="3890a5ce-a2b4-4a21-8966-214efee933d6" providerId="ADAL" clId="{1DDAA30E-8C06-453B-9422-6CD65B96247E}" dt="2026-02-11T12:57:54.711" v="1181" actId="1076"/>
          <ac:spMkLst>
            <pc:docMk/>
            <pc:sldMk cId="417625643" sldId="2145707597"/>
            <ac:spMk id="35" creationId="{074E0E93-8F3B-F504-9206-BAF8A4A85938}"/>
          </ac:spMkLst>
        </pc:spChg>
        <pc:spChg chg="mod">
          <ac:chgData name="Waldenmaier, Mark (HEALTH)" userId="3890a5ce-a2b4-4a21-8966-214efee933d6" providerId="ADAL" clId="{1DDAA30E-8C06-453B-9422-6CD65B96247E}" dt="2026-02-17T19:26:33.159" v="1870" actId="13926"/>
          <ac:spMkLst>
            <pc:docMk/>
            <pc:sldMk cId="417625643" sldId="2145707597"/>
            <ac:spMk id="100" creationId="{9A7585AD-6B8B-E4EA-A17D-BAAB8A4F2327}"/>
          </ac:spMkLst>
        </pc:spChg>
        <pc:grpChg chg="mod">
          <ac:chgData name="Waldenmaier, Mark (HEALTH)" userId="3890a5ce-a2b4-4a21-8966-214efee933d6" providerId="ADAL" clId="{1DDAA30E-8C06-453B-9422-6CD65B96247E}" dt="2026-02-11T12:57:41.840" v="1179" actId="1076"/>
          <ac:grpSpMkLst>
            <pc:docMk/>
            <pc:sldMk cId="417625643" sldId="2145707597"/>
            <ac:grpSpMk id="68" creationId="{92FB6D31-F305-BFE6-7EDF-72E3546E0830}"/>
          </ac:grpSpMkLst>
        </pc:grpChg>
      </pc:sldChg>
      <pc:sldChg chg="addSp delSp modSp mod modAnim">
        <pc:chgData name="Waldenmaier, Mark (HEALTH)" userId="3890a5ce-a2b4-4a21-8966-214efee933d6" providerId="ADAL" clId="{1DDAA30E-8C06-453B-9422-6CD65B96247E}" dt="2026-02-13T16:27:37.640" v="1429"/>
        <pc:sldMkLst>
          <pc:docMk/>
          <pc:sldMk cId="3303223514" sldId="2147478963"/>
        </pc:sldMkLst>
        <pc:spChg chg="mod">
          <ac:chgData name="Waldenmaier, Mark (HEALTH)" userId="3890a5ce-a2b4-4a21-8966-214efee933d6" providerId="ADAL" clId="{1DDAA30E-8C06-453B-9422-6CD65B96247E}" dt="2026-02-10T15:42:53.761" v="1126" actId="1076"/>
          <ac:spMkLst>
            <pc:docMk/>
            <pc:sldMk cId="3303223514" sldId="2147478963"/>
            <ac:spMk id="3" creationId="{CA815D9F-6DCB-753B-21BD-B62771DDD2EA}"/>
          </ac:spMkLst>
        </pc:spChg>
        <pc:spChg chg="mod">
          <ac:chgData name="Waldenmaier, Mark (HEALTH)" userId="3890a5ce-a2b4-4a21-8966-214efee933d6" providerId="ADAL" clId="{1DDAA30E-8C06-453B-9422-6CD65B96247E}" dt="2026-02-10T15:43:01.335" v="1127" actId="1076"/>
          <ac:spMkLst>
            <pc:docMk/>
            <pc:sldMk cId="3303223514" sldId="2147478963"/>
            <ac:spMk id="8" creationId="{40CB36DB-8DEF-E080-A1A3-F1838207573C}"/>
          </ac:spMkLst>
        </pc:spChg>
        <pc:spChg chg="add mod">
          <ac:chgData name="Waldenmaier, Mark (HEALTH)" userId="3890a5ce-a2b4-4a21-8966-214efee933d6" providerId="ADAL" clId="{1DDAA30E-8C06-453B-9422-6CD65B96247E}" dt="2026-02-10T15:56:38.193" v="1177" actId="207"/>
          <ac:spMkLst>
            <pc:docMk/>
            <pc:sldMk cId="3303223514" sldId="2147478963"/>
            <ac:spMk id="9" creationId="{78A5BB58-7680-1114-9A4C-C8C3C616D7FD}"/>
          </ac:spMkLst>
        </pc:spChg>
        <pc:picChg chg="add mod ord">
          <ac:chgData name="Waldenmaier, Mark (HEALTH)" userId="3890a5ce-a2b4-4a21-8966-214efee933d6" providerId="ADAL" clId="{1DDAA30E-8C06-453B-9422-6CD65B96247E}" dt="2026-02-10T15:42:50.597" v="1125" actId="1076"/>
          <ac:picMkLst>
            <pc:docMk/>
            <pc:sldMk cId="3303223514" sldId="2147478963"/>
            <ac:picMk id="5" creationId="{0CC36277-1F40-92B3-F9E0-0CFCBFCBC01A}"/>
          </ac:picMkLst>
        </pc:picChg>
      </pc:sldChg>
      <pc:sldChg chg="delSp modSp mod delAnim">
        <pc:chgData name="Waldenmaier, Mark (HEALTH)" userId="3890a5ce-a2b4-4a21-8966-214efee933d6" providerId="ADAL" clId="{1DDAA30E-8C06-453B-9422-6CD65B96247E}" dt="2026-01-30T14:59:13.946" v="407" actId="6549"/>
        <pc:sldMkLst>
          <pc:docMk/>
          <pc:sldMk cId="593490138" sldId="2147478968"/>
        </pc:sldMkLst>
        <pc:spChg chg="mod">
          <ac:chgData name="Waldenmaier, Mark (HEALTH)" userId="3890a5ce-a2b4-4a21-8966-214efee933d6" providerId="ADAL" clId="{1DDAA30E-8C06-453B-9422-6CD65B96247E}" dt="2026-01-30T14:59:13.946" v="407" actId="6549"/>
          <ac:spMkLst>
            <pc:docMk/>
            <pc:sldMk cId="593490138" sldId="2147478968"/>
            <ac:spMk id="13" creationId="{ED3FA74B-4BC1-E27D-8171-8B281C472120}"/>
          </ac:spMkLst>
        </pc:spChg>
      </pc:sldChg>
      <pc:sldChg chg="del">
        <pc:chgData name="Waldenmaier, Mark (HEALTH)" userId="3890a5ce-a2b4-4a21-8966-214efee933d6" providerId="ADAL" clId="{1DDAA30E-8C06-453B-9422-6CD65B96247E}" dt="2026-01-30T14:48:02.462" v="159" actId="47"/>
        <pc:sldMkLst>
          <pc:docMk/>
          <pc:sldMk cId="2149442287" sldId="2147478971"/>
        </pc:sldMkLst>
      </pc:sldChg>
      <pc:sldChg chg="del">
        <pc:chgData name="Waldenmaier, Mark (HEALTH)" userId="3890a5ce-a2b4-4a21-8966-214efee933d6" providerId="ADAL" clId="{1DDAA30E-8C06-453B-9422-6CD65B96247E}" dt="2026-01-30T14:47:58.223" v="158" actId="47"/>
        <pc:sldMkLst>
          <pc:docMk/>
          <pc:sldMk cId="3781246726" sldId="2147478974"/>
        </pc:sldMkLst>
      </pc:sldChg>
      <pc:sldChg chg="modSp mod">
        <pc:chgData name="Waldenmaier, Mark (HEALTH)" userId="3890a5ce-a2b4-4a21-8966-214efee933d6" providerId="ADAL" clId="{1DDAA30E-8C06-453B-9422-6CD65B96247E}" dt="2026-01-30T14:29:44.267" v="64" actId="20577"/>
        <pc:sldMkLst>
          <pc:docMk/>
          <pc:sldMk cId="1537627176" sldId="2147478976"/>
        </pc:sldMkLst>
        <pc:spChg chg="mod">
          <ac:chgData name="Waldenmaier, Mark (HEALTH)" userId="3890a5ce-a2b4-4a21-8966-214efee933d6" providerId="ADAL" clId="{1DDAA30E-8C06-453B-9422-6CD65B96247E}" dt="2026-01-30T14:29:44.267" v="64" actId="20577"/>
          <ac:spMkLst>
            <pc:docMk/>
            <pc:sldMk cId="1537627176" sldId="2147478976"/>
            <ac:spMk id="2" creationId="{32456454-B4FE-F613-FA0F-D7287791FB36}"/>
          </ac:spMkLst>
        </pc:spChg>
        <pc:spChg chg="mod">
          <ac:chgData name="Waldenmaier, Mark (HEALTH)" userId="3890a5ce-a2b4-4a21-8966-214efee933d6" providerId="ADAL" clId="{1DDAA30E-8C06-453B-9422-6CD65B96247E}" dt="2026-01-30T14:29:33.888" v="44" actId="13926"/>
          <ac:spMkLst>
            <pc:docMk/>
            <pc:sldMk cId="1537627176" sldId="2147478976"/>
            <ac:spMk id="4" creationId="{B0F9C34F-64FD-2041-B35B-0B61D710AE05}"/>
          </ac:spMkLst>
        </pc:spChg>
      </pc:sldChg>
      <pc:sldChg chg="addSp delSp modSp mod modAnim">
        <pc:chgData name="Waldenmaier, Mark (HEALTH)" userId="3890a5ce-a2b4-4a21-8966-214efee933d6" providerId="ADAL" clId="{1DDAA30E-8C06-453B-9422-6CD65B96247E}" dt="2026-02-13T16:27:45.699" v="1430"/>
        <pc:sldMkLst>
          <pc:docMk/>
          <pc:sldMk cId="2347390781" sldId="2147478977"/>
        </pc:sldMkLst>
        <pc:spChg chg="mod">
          <ac:chgData name="Waldenmaier, Mark (HEALTH)" userId="3890a5ce-a2b4-4a21-8966-214efee933d6" providerId="ADAL" clId="{1DDAA30E-8C06-453B-9422-6CD65B96247E}" dt="2026-02-10T15:44:04.540" v="1151" actId="1076"/>
          <ac:spMkLst>
            <pc:docMk/>
            <pc:sldMk cId="2347390781" sldId="2147478977"/>
            <ac:spMk id="13" creationId="{428E369D-C775-AA5C-1741-2F13A1187470}"/>
          </ac:spMkLst>
        </pc:spChg>
        <pc:grpChg chg="mod">
          <ac:chgData name="Waldenmaier, Mark (HEALTH)" userId="3890a5ce-a2b4-4a21-8966-214efee933d6" providerId="ADAL" clId="{1DDAA30E-8C06-453B-9422-6CD65B96247E}" dt="2026-02-10T15:44:22.562" v="1155" actId="1076"/>
          <ac:grpSpMkLst>
            <pc:docMk/>
            <pc:sldMk cId="2347390781" sldId="2147478977"/>
            <ac:grpSpMk id="5" creationId="{FF0C496B-9F2D-E381-6A5D-CC06C0ACE42A}"/>
          </ac:grpSpMkLst>
        </pc:grpChg>
        <pc:grpChg chg="mod">
          <ac:chgData name="Waldenmaier, Mark (HEALTH)" userId="3890a5ce-a2b4-4a21-8966-214efee933d6" providerId="ADAL" clId="{1DDAA30E-8C06-453B-9422-6CD65B96247E}" dt="2026-02-10T15:44:13.084" v="1153" actId="1076"/>
          <ac:grpSpMkLst>
            <pc:docMk/>
            <pc:sldMk cId="2347390781" sldId="2147478977"/>
            <ac:grpSpMk id="10" creationId="{69A6823A-5F7F-F963-A93A-0AD34E4B11CA}"/>
          </ac:grpSpMkLst>
        </pc:grpChg>
        <pc:picChg chg="add mod ord">
          <ac:chgData name="Waldenmaier, Mark (HEALTH)" userId="3890a5ce-a2b4-4a21-8966-214efee933d6" providerId="ADAL" clId="{1DDAA30E-8C06-453B-9422-6CD65B96247E}" dt="2026-02-10T15:44:43.489" v="1161" actId="14100"/>
          <ac:picMkLst>
            <pc:docMk/>
            <pc:sldMk cId="2347390781" sldId="2147478977"/>
            <ac:picMk id="17" creationId="{90302685-A7E8-2621-9AAD-A7C52C45CD58}"/>
          </ac:picMkLst>
        </pc:picChg>
      </pc:sldChg>
      <pc:sldChg chg="addSp delSp modSp add del mod modAnim">
        <pc:chgData name="Waldenmaier, Mark (HEALTH)" userId="3890a5ce-a2b4-4a21-8966-214efee933d6" providerId="ADAL" clId="{1DDAA30E-8C06-453B-9422-6CD65B96247E}" dt="2026-02-13T16:27:52.552" v="1431"/>
        <pc:sldMkLst>
          <pc:docMk/>
          <pc:sldMk cId="2080663670" sldId="2147478978"/>
        </pc:sldMkLst>
        <pc:spChg chg="mod">
          <ac:chgData name="Waldenmaier, Mark (HEALTH)" userId="3890a5ce-a2b4-4a21-8966-214efee933d6" providerId="ADAL" clId="{1DDAA30E-8C06-453B-9422-6CD65B96247E}" dt="2026-02-10T15:45:00.641" v="1166" actId="1076"/>
          <ac:spMkLst>
            <pc:docMk/>
            <pc:sldMk cId="2080663670" sldId="2147478978"/>
            <ac:spMk id="3" creationId="{D11BE30C-FF2B-7ACC-4B95-6ABFBC971040}"/>
          </ac:spMkLst>
        </pc:spChg>
        <pc:spChg chg="mod">
          <ac:chgData name="Waldenmaier, Mark (HEALTH)" userId="3890a5ce-a2b4-4a21-8966-214efee933d6" providerId="ADAL" clId="{1DDAA30E-8C06-453B-9422-6CD65B96247E}" dt="2026-02-10T15:44:57.917" v="1165" actId="14100"/>
          <ac:spMkLst>
            <pc:docMk/>
            <pc:sldMk cId="2080663670" sldId="2147478978"/>
            <ac:spMk id="8" creationId="{4AEB28C1-3EC9-9174-2F9B-F0752B6D5FFE}"/>
          </ac:spMkLst>
        </pc:spChg>
        <pc:picChg chg="add mod ord">
          <ac:chgData name="Waldenmaier, Mark (HEALTH)" userId="3890a5ce-a2b4-4a21-8966-214efee933d6" providerId="ADAL" clId="{1DDAA30E-8C06-453B-9422-6CD65B96247E}" dt="2026-02-10T15:44:51.619" v="1163" actId="1076"/>
          <ac:picMkLst>
            <pc:docMk/>
            <pc:sldMk cId="2080663670" sldId="2147478978"/>
            <ac:picMk id="5" creationId="{57D93D45-616C-3B2A-029D-CD79459A5207}"/>
          </ac:picMkLst>
        </pc:picChg>
      </pc:sldChg>
      <pc:sldChg chg="modSp mod">
        <pc:chgData name="Waldenmaier, Mark (HEALTH)" userId="3890a5ce-a2b4-4a21-8966-214efee933d6" providerId="ADAL" clId="{1DDAA30E-8C06-453B-9422-6CD65B96247E}" dt="2026-02-17T13:40:29.199" v="1605" actId="255"/>
        <pc:sldMkLst>
          <pc:docMk/>
          <pc:sldMk cId="927573305" sldId="2147478980"/>
        </pc:sldMkLst>
        <pc:spChg chg="mod">
          <ac:chgData name="Waldenmaier, Mark (HEALTH)" userId="3890a5ce-a2b4-4a21-8966-214efee933d6" providerId="ADAL" clId="{1DDAA30E-8C06-453B-9422-6CD65B96247E}" dt="2026-02-17T13:40:29.199" v="1605" actId="255"/>
          <ac:spMkLst>
            <pc:docMk/>
            <pc:sldMk cId="927573305" sldId="2147478980"/>
            <ac:spMk id="7" creationId="{EE69DDFC-CCB8-F8D4-A4E1-308F3B1A7B02}"/>
          </ac:spMkLst>
        </pc:spChg>
        <pc:spChg chg="mod">
          <ac:chgData name="Waldenmaier, Mark (HEALTH)" userId="3890a5ce-a2b4-4a21-8966-214efee933d6" providerId="ADAL" clId="{1DDAA30E-8C06-453B-9422-6CD65B96247E}" dt="2026-02-17T13:40:17.619" v="1601" actId="255"/>
          <ac:spMkLst>
            <pc:docMk/>
            <pc:sldMk cId="927573305" sldId="2147478980"/>
            <ac:spMk id="9" creationId="{B68E6B03-175A-CEB3-DEF2-84539B0D1088}"/>
          </ac:spMkLst>
        </pc:spChg>
      </pc:sldChg>
      <pc:sldChg chg="modSp mod">
        <pc:chgData name="Waldenmaier, Mark (HEALTH)" userId="3890a5ce-a2b4-4a21-8966-214efee933d6" providerId="ADAL" clId="{1DDAA30E-8C06-453B-9422-6CD65B96247E}" dt="2026-02-13T16:29:34.698" v="1433" actId="1036"/>
        <pc:sldMkLst>
          <pc:docMk/>
          <pc:sldMk cId="784858815" sldId="2147478981"/>
        </pc:sldMkLst>
        <pc:spChg chg="mod">
          <ac:chgData name="Waldenmaier, Mark (HEALTH)" userId="3890a5ce-a2b4-4a21-8966-214efee933d6" providerId="ADAL" clId="{1DDAA30E-8C06-453B-9422-6CD65B96247E}" dt="2026-02-13T16:29:34.698" v="1433" actId="1036"/>
          <ac:spMkLst>
            <pc:docMk/>
            <pc:sldMk cId="784858815" sldId="2147478981"/>
            <ac:spMk id="13" creationId="{39B6C671-3EEF-10EB-0488-DE0B9044E0C9}"/>
          </ac:spMkLst>
        </pc:spChg>
      </pc:sldChg>
      <pc:sldChg chg="del">
        <pc:chgData name="Waldenmaier, Mark (HEALTH)" userId="3890a5ce-a2b4-4a21-8966-214efee933d6" providerId="ADAL" clId="{1DDAA30E-8C06-453B-9422-6CD65B96247E}" dt="2026-01-30T14:48:04.195" v="160" actId="47"/>
        <pc:sldMkLst>
          <pc:docMk/>
          <pc:sldMk cId="3734234878" sldId="2147478982"/>
        </pc:sldMkLst>
      </pc:sldChg>
      <pc:sldChg chg="del">
        <pc:chgData name="Waldenmaier, Mark (HEALTH)" userId="3890a5ce-a2b4-4a21-8966-214efee933d6" providerId="ADAL" clId="{1DDAA30E-8C06-453B-9422-6CD65B96247E}" dt="2026-01-30T14:48:05.153" v="161" actId="47"/>
        <pc:sldMkLst>
          <pc:docMk/>
          <pc:sldMk cId="842190656" sldId="2147478983"/>
        </pc:sldMkLst>
      </pc:sldChg>
      <pc:sldChg chg="modSp mod">
        <pc:chgData name="Waldenmaier, Mark (HEALTH)" userId="3890a5ce-a2b4-4a21-8966-214efee933d6" providerId="ADAL" clId="{1DDAA30E-8C06-453B-9422-6CD65B96247E}" dt="2026-02-17T13:45:56.340" v="1818" actId="1076"/>
        <pc:sldMkLst>
          <pc:docMk/>
          <pc:sldMk cId="2556155668" sldId="2147478991"/>
        </pc:sldMkLst>
        <pc:spChg chg="mod">
          <ac:chgData name="Waldenmaier, Mark (HEALTH)" userId="3890a5ce-a2b4-4a21-8966-214efee933d6" providerId="ADAL" clId="{1DDAA30E-8C06-453B-9422-6CD65B96247E}" dt="2026-02-17T13:45:56.340" v="1818" actId="1076"/>
          <ac:spMkLst>
            <pc:docMk/>
            <pc:sldMk cId="2556155668" sldId="2147478991"/>
            <ac:spMk id="4" creationId="{61F508EE-71B4-3771-1619-7EC6E9B98CAF}"/>
          </ac:spMkLst>
        </pc:spChg>
        <pc:graphicFrameChg chg="mod modGraphic">
          <ac:chgData name="Waldenmaier, Mark (HEALTH)" userId="3890a5ce-a2b4-4a21-8966-214efee933d6" providerId="ADAL" clId="{1DDAA30E-8C06-453B-9422-6CD65B96247E}" dt="2026-02-17T13:45:49.337" v="1816" actId="1076"/>
          <ac:graphicFrameMkLst>
            <pc:docMk/>
            <pc:sldMk cId="2556155668" sldId="2147478991"/>
            <ac:graphicFrameMk id="3" creationId="{A07CB9F1-5A87-DDE9-4471-F46DBE37AD2C}"/>
          </ac:graphicFrameMkLst>
        </pc:graphicFrameChg>
      </pc:sldChg>
      <pc:sldChg chg="modSp mod">
        <pc:chgData name="Waldenmaier, Mark (HEALTH)" userId="3890a5ce-a2b4-4a21-8966-214efee933d6" providerId="ADAL" clId="{1DDAA30E-8C06-453B-9422-6CD65B96247E}" dt="2026-01-30T14:53:45.335" v="237" actId="20577"/>
        <pc:sldMkLst>
          <pc:docMk/>
          <pc:sldMk cId="2914664199" sldId="2147478992"/>
        </pc:sldMkLst>
        <pc:spChg chg="mod">
          <ac:chgData name="Waldenmaier, Mark (HEALTH)" userId="3890a5ce-a2b4-4a21-8966-214efee933d6" providerId="ADAL" clId="{1DDAA30E-8C06-453B-9422-6CD65B96247E}" dt="2026-01-30T14:53:45.335" v="237" actId="20577"/>
          <ac:spMkLst>
            <pc:docMk/>
            <pc:sldMk cId="2914664199" sldId="2147478992"/>
            <ac:spMk id="2" creationId="{6A60DEFC-7AA5-50D1-6A7B-93C69B09FB2E}"/>
          </ac:spMkLst>
        </pc:spChg>
      </pc:sldChg>
      <pc:sldChg chg="modSp mod">
        <pc:chgData name="Waldenmaier, Mark (HEALTH)" userId="3890a5ce-a2b4-4a21-8966-214efee933d6" providerId="ADAL" clId="{1DDAA30E-8C06-453B-9422-6CD65B96247E}" dt="2026-02-13T16:32:27.860" v="1437" actId="113"/>
        <pc:sldMkLst>
          <pc:docMk/>
          <pc:sldMk cId="3130683495" sldId="2147478993"/>
        </pc:sldMkLst>
        <pc:graphicFrameChg chg="modGraphic">
          <ac:chgData name="Waldenmaier, Mark (HEALTH)" userId="3890a5ce-a2b4-4a21-8966-214efee933d6" providerId="ADAL" clId="{1DDAA30E-8C06-453B-9422-6CD65B96247E}" dt="2026-02-13T16:32:27.860" v="1437" actId="113"/>
          <ac:graphicFrameMkLst>
            <pc:docMk/>
            <pc:sldMk cId="3130683495" sldId="2147478993"/>
            <ac:graphicFrameMk id="8" creationId="{4DD9643A-24B4-3E27-96E7-3030040F2DF1}"/>
          </ac:graphicFrameMkLst>
        </pc:graphicFrameChg>
      </pc:sldChg>
      <pc:sldChg chg="modSp mod">
        <pc:chgData name="Waldenmaier, Mark (HEALTH)" userId="3890a5ce-a2b4-4a21-8966-214efee933d6" providerId="ADAL" clId="{1DDAA30E-8C06-453B-9422-6CD65B96247E}" dt="2026-02-17T13:45:03.518" v="1785" actId="13926"/>
        <pc:sldMkLst>
          <pc:docMk/>
          <pc:sldMk cId="710812999" sldId="2147479001"/>
        </pc:sldMkLst>
        <pc:spChg chg="mod">
          <ac:chgData name="Waldenmaier, Mark (HEALTH)" userId="3890a5ce-a2b4-4a21-8966-214efee933d6" providerId="ADAL" clId="{1DDAA30E-8C06-453B-9422-6CD65B96247E}" dt="2026-02-17T13:45:03.518" v="1785" actId="13926"/>
          <ac:spMkLst>
            <pc:docMk/>
            <pc:sldMk cId="710812999" sldId="2147479001"/>
            <ac:spMk id="2" creationId="{81836357-7B48-847E-8444-3453758592AF}"/>
          </ac:spMkLst>
        </pc:spChg>
        <pc:spChg chg="mod">
          <ac:chgData name="Waldenmaier, Mark (HEALTH)" userId="3890a5ce-a2b4-4a21-8966-214efee933d6" providerId="ADAL" clId="{1DDAA30E-8C06-453B-9422-6CD65B96247E}" dt="2026-02-17T13:44:55.063" v="1784" actId="14100"/>
          <ac:spMkLst>
            <pc:docMk/>
            <pc:sldMk cId="710812999" sldId="2147479001"/>
            <ac:spMk id="3" creationId="{074467BD-A61B-F3AC-B956-0007C9B821E7}"/>
          </ac:spMkLst>
        </pc:spChg>
        <pc:spChg chg="mod">
          <ac:chgData name="Waldenmaier, Mark (HEALTH)" userId="3890a5ce-a2b4-4a21-8966-214efee933d6" providerId="ADAL" clId="{1DDAA30E-8C06-453B-9422-6CD65B96247E}" dt="2026-02-17T13:42:53.415" v="1711" actId="255"/>
          <ac:spMkLst>
            <pc:docMk/>
            <pc:sldMk cId="710812999" sldId="2147479001"/>
            <ac:spMk id="4" creationId="{7D503F0A-B40B-6BC4-BF41-BEFD86A6BB09}"/>
          </ac:spMkLst>
        </pc:spChg>
      </pc:sldChg>
      <pc:sldChg chg="addSp delSp modSp add mod delAnim modAnim modNotesTx">
        <pc:chgData name="Waldenmaier, Mark (HEALTH)" userId="3890a5ce-a2b4-4a21-8966-214efee933d6" providerId="ADAL" clId="{1DDAA30E-8C06-453B-9422-6CD65B96247E}" dt="2026-02-11T13:06:57.220" v="1428" actId="20577"/>
        <pc:sldMkLst>
          <pc:docMk/>
          <pc:sldMk cId="2045404179" sldId="2147479002"/>
        </pc:sldMkLst>
        <pc:spChg chg="mod">
          <ac:chgData name="Waldenmaier, Mark (HEALTH)" userId="3890a5ce-a2b4-4a21-8966-214efee933d6" providerId="ADAL" clId="{1DDAA30E-8C06-453B-9422-6CD65B96247E}" dt="2026-02-11T13:04:13.218" v="1312" actId="1076"/>
          <ac:spMkLst>
            <pc:docMk/>
            <pc:sldMk cId="2045404179" sldId="2147479002"/>
            <ac:spMk id="3" creationId="{820EA154-776E-FE03-5A97-99CD592092D7}"/>
          </ac:spMkLst>
        </pc:spChg>
        <pc:spChg chg="mod">
          <ac:chgData name="Waldenmaier, Mark (HEALTH)" userId="3890a5ce-a2b4-4a21-8966-214efee933d6" providerId="ADAL" clId="{1DDAA30E-8C06-453B-9422-6CD65B96247E}" dt="2026-01-30T14:59:25.364" v="408" actId="115"/>
          <ac:spMkLst>
            <pc:docMk/>
            <pc:sldMk cId="2045404179" sldId="2147479002"/>
            <ac:spMk id="12" creationId="{E1E3F667-47DA-CF6C-14E9-F2E1255EA9EB}"/>
          </ac:spMkLst>
        </pc:spChg>
        <pc:graphicFrameChg chg="add mod modGraphic">
          <ac:chgData name="Waldenmaier, Mark (HEALTH)" userId="3890a5ce-a2b4-4a21-8966-214efee933d6" providerId="ADAL" clId="{1DDAA30E-8C06-453B-9422-6CD65B96247E}" dt="2026-02-11T13:02:15.556" v="1250" actId="1076"/>
          <ac:graphicFrameMkLst>
            <pc:docMk/>
            <pc:sldMk cId="2045404179" sldId="2147479002"/>
            <ac:graphicFrameMk id="4" creationId="{02F34ABA-7889-E214-7241-BC28EB4BC681}"/>
          </ac:graphicFrameMkLst>
        </pc:graphicFrameChg>
      </pc:sldChg>
      <pc:sldChg chg="modSp add mod ord">
        <pc:chgData name="Waldenmaier, Mark (HEALTH)" userId="3890a5ce-a2b4-4a21-8966-214efee933d6" providerId="ADAL" clId="{1DDAA30E-8C06-453B-9422-6CD65B96247E}" dt="2026-02-18T15:13:11.051" v="1883" actId="20577"/>
        <pc:sldMkLst>
          <pc:docMk/>
          <pc:sldMk cId="3598428982" sldId="2147479003"/>
        </pc:sldMkLst>
        <pc:spChg chg="mod">
          <ac:chgData name="Waldenmaier, Mark (HEALTH)" userId="3890a5ce-a2b4-4a21-8966-214efee933d6" providerId="ADAL" clId="{1DDAA30E-8C06-453B-9422-6CD65B96247E}" dt="2026-02-18T15:13:11.051" v="1883" actId="20577"/>
          <ac:spMkLst>
            <pc:docMk/>
            <pc:sldMk cId="3598428982" sldId="2147479003"/>
            <ac:spMk id="2" creationId="{D2927745-73E7-A44A-EE04-B400E78ADA86}"/>
          </ac:spMkLst>
        </pc:spChg>
      </pc:sldChg>
      <pc:sldChg chg="add ord">
        <pc:chgData name="Waldenmaier, Mark (HEALTH)" userId="3890a5ce-a2b4-4a21-8966-214efee933d6" providerId="ADAL" clId="{1DDAA30E-8C06-453B-9422-6CD65B96247E}" dt="2026-02-18T15:13:00.920" v="1880"/>
        <pc:sldMkLst>
          <pc:docMk/>
          <pc:sldMk cId="3588978863" sldId="2147479004"/>
        </pc:sldMkLst>
      </pc:sldChg>
    </pc:docChg>
  </pc:docChgLst>
  <pc:docChgLst>
    <pc:chgData name="Patterson, Meredith (HEALTH)" userId="S::meredith.patterson@health.ny.gov::12ee1e50-f088-457f-bbd4-dc4b5f7b6f40" providerId="AD" clId="Web-{F38D0DBC-E191-7D8D-7A00-80105732C63A}"/>
    <pc:docChg chg="mod addSld delSld modSld sldOrd modSection">
      <pc:chgData name="Patterson, Meredith (HEALTH)" userId="S::meredith.patterson@health.ny.gov::12ee1e50-f088-457f-bbd4-dc4b5f7b6f40" providerId="AD" clId="Web-{F38D0DBC-E191-7D8D-7A00-80105732C63A}" dt="2025-08-22T14:45:32.795" v="1184" actId="20577"/>
      <pc:docMkLst>
        <pc:docMk/>
      </pc:docMkLst>
      <pc:sldChg chg="addSp modSp del mod chgLayout">
        <pc:chgData name="Patterson, Meredith (HEALTH)" userId="S::meredith.patterson@health.ny.gov::12ee1e50-f088-457f-bbd4-dc4b5f7b6f40" providerId="AD" clId="Web-{F38D0DBC-E191-7D8D-7A00-80105732C63A}" dt="2025-08-22T12:22:02.111" v="15"/>
        <pc:sldMkLst>
          <pc:docMk/>
          <pc:sldMk cId="2698280640" sldId="2147478969"/>
        </pc:sldMkLst>
      </pc:sldChg>
      <pc:sldChg chg="modSp add ord replId">
        <pc:chgData name="Patterson, Meredith (HEALTH)" userId="S::meredith.patterson@health.ny.gov::12ee1e50-f088-457f-bbd4-dc4b5f7b6f40" providerId="AD" clId="Web-{F38D0DBC-E191-7D8D-7A00-80105732C63A}" dt="2025-08-22T12:26:35.654" v="147" actId="20577"/>
        <pc:sldMkLst>
          <pc:docMk/>
          <pc:sldMk cId="2932418345" sldId="2147478970"/>
        </pc:sldMkLst>
      </pc:sldChg>
      <pc:sldChg chg="addSp modSp new mod chgLayout">
        <pc:chgData name="Patterson, Meredith (HEALTH)" userId="S::meredith.patterson@health.ny.gov::12ee1e50-f088-457f-bbd4-dc4b5f7b6f40" providerId="AD" clId="Web-{F38D0DBC-E191-7D8D-7A00-80105732C63A}" dt="2025-08-22T14:43:49.905" v="1162" actId="20577"/>
        <pc:sldMkLst>
          <pc:docMk/>
          <pc:sldMk cId="2149442287" sldId="2147478971"/>
        </pc:sldMkLst>
      </pc:sldChg>
      <pc:sldChg chg="modSp new">
        <pc:chgData name="Patterson, Meredith (HEALTH)" userId="S::meredith.patterson@health.ny.gov::12ee1e50-f088-457f-bbd4-dc4b5f7b6f40" providerId="AD" clId="Web-{F38D0DBC-E191-7D8D-7A00-80105732C63A}" dt="2025-08-22T14:45:32.795" v="1184" actId="20577"/>
        <pc:sldMkLst>
          <pc:docMk/>
          <pc:sldMk cId="3826069859" sldId="2147478972"/>
        </pc:sldMkLst>
      </pc:sldChg>
      <pc:sldChg chg="addSp delSp modSp new">
        <pc:chgData name="Patterson, Meredith (HEALTH)" userId="S::meredith.patterson@health.ny.gov::12ee1e50-f088-457f-bbd4-dc4b5f7b6f40" providerId="AD" clId="Web-{F38D0DBC-E191-7D8D-7A00-80105732C63A}" dt="2025-08-22T13:05:07.740" v="1076" actId="1076"/>
        <pc:sldMkLst>
          <pc:docMk/>
          <pc:sldMk cId="3035930011" sldId="2147478973"/>
        </pc:sldMkLst>
      </pc:sldChg>
      <pc:sldChg chg="addSp delSp modSp add ord replId">
        <pc:chgData name="Patterson, Meredith (HEALTH)" userId="S::meredith.patterson@health.ny.gov::12ee1e50-f088-457f-bbd4-dc4b5f7b6f40" providerId="AD" clId="Web-{F38D0DBC-E191-7D8D-7A00-80105732C63A}" dt="2025-08-22T14:42:13.719" v="1138" actId="20577"/>
        <pc:sldMkLst>
          <pc:docMk/>
          <pc:sldMk cId="3781246726" sldId="2147478974"/>
        </pc:sldMkLst>
      </pc:sldChg>
      <pc:sldChg chg="modSp add replId">
        <pc:chgData name="Patterson, Meredith (HEALTH)" userId="S::meredith.patterson@health.ny.gov::12ee1e50-f088-457f-bbd4-dc4b5f7b6f40" providerId="AD" clId="Web-{F38D0DBC-E191-7D8D-7A00-80105732C63A}" dt="2025-08-22T12:55:03.595" v="1048" actId="20577"/>
        <pc:sldMkLst>
          <pc:docMk/>
          <pc:sldMk cId="957324992" sldId="2147478975"/>
        </pc:sldMkLst>
      </pc:sldChg>
    </pc:docChg>
  </pc:docChgLst>
  <pc:docChgLst>
    <pc:chgData name="Alaali, Zahra S (HEALTH)" userId="S::zahra.alaali@health.ny.gov::e472fd58-aee6-4d6d-8f69-98bd7d3fdd87" providerId="AD" clId="Web-{FA37B43F-BD83-D639-926F-2956677DA6D8}"/>
    <pc:docChg chg="modSld">
      <pc:chgData name="Alaali, Zahra S (HEALTH)" userId="S::zahra.alaali@health.ny.gov::e472fd58-aee6-4d6d-8f69-98bd7d3fdd87" providerId="AD" clId="Web-{FA37B43F-BD83-D639-926F-2956677DA6D8}" dt="2025-08-22T15:32:28.488" v="1" actId="1076"/>
      <pc:docMkLst>
        <pc:docMk/>
      </pc:docMkLst>
      <pc:sldChg chg="modSp">
        <pc:chgData name="Alaali, Zahra S (HEALTH)" userId="S::zahra.alaali@health.ny.gov::e472fd58-aee6-4d6d-8f69-98bd7d3fdd87" providerId="AD" clId="Web-{FA37B43F-BD83-D639-926F-2956677DA6D8}" dt="2025-08-22T15:32:28.488" v="1" actId="1076"/>
        <pc:sldMkLst>
          <pc:docMk/>
          <pc:sldMk cId="2932418345" sldId="2147478970"/>
        </pc:sldMkLst>
      </pc:sldChg>
    </pc:docChg>
  </pc:docChgLst>
  <pc:docChgLst>
    <pc:chgData name="Waldenmaier, Mark (HEALTH)" userId="3890a5ce-a2b4-4a21-8966-214efee933d6" providerId="ADAL" clId="{9EB3B210-4DD4-436C-A67B-F36A1852A58A}"/>
    <pc:docChg chg="undo custSel addSld delSld modSld sldOrd addMainMaster delMainMaster delSection modSection">
      <pc:chgData name="Waldenmaier, Mark (HEALTH)" userId="3890a5ce-a2b4-4a21-8966-214efee933d6" providerId="ADAL" clId="{9EB3B210-4DD4-436C-A67B-F36A1852A58A}" dt="2025-11-21T12:59:19.908" v="9950" actId="13926"/>
      <pc:docMkLst>
        <pc:docMk/>
      </pc:docMkLst>
      <pc:sldChg chg="addSp delSp modSp add mod modAnim modNotesTx">
        <pc:chgData name="Waldenmaier, Mark (HEALTH)" userId="3890a5ce-a2b4-4a21-8966-214efee933d6" providerId="ADAL" clId="{9EB3B210-4DD4-436C-A67B-F36A1852A58A}" dt="2025-11-21T12:56:08.990" v="9791" actId="1076"/>
        <pc:sldMkLst>
          <pc:docMk/>
          <pc:sldMk cId="127716727" sldId="267"/>
        </pc:sldMkLst>
      </pc:sldChg>
      <pc:sldChg chg="addSp delSp modSp add del mod modClrScheme modAnim chgLayout">
        <pc:chgData name="Waldenmaier, Mark (HEALTH)" userId="3890a5ce-a2b4-4a21-8966-214efee933d6" providerId="ADAL" clId="{9EB3B210-4DD4-436C-A67B-F36A1852A58A}" dt="2025-11-21T12:58:51.816" v="9949" actId="27636"/>
        <pc:sldMkLst>
          <pc:docMk/>
          <pc:sldMk cId="1522581280" sldId="277"/>
        </pc:sldMkLst>
      </pc:sldChg>
      <pc:sldChg chg="add del">
        <pc:chgData name="Waldenmaier, Mark (HEALTH)" userId="3890a5ce-a2b4-4a21-8966-214efee933d6" providerId="ADAL" clId="{9EB3B210-4DD4-436C-A67B-F36A1852A58A}" dt="2025-11-18T20:06:08.075" v="4629" actId="47"/>
        <pc:sldMkLst>
          <pc:docMk/>
          <pc:sldMk cId="960978031" sldId="278"/>
        </pc:sldMkLst>
      </pc:sldChg>
      <pc:sldChg chg="addSp modSp add mod modAnim">
        <pc:chgData name="Waldenmaier, Mark (HEALTH)" userId="3890a5ce-a2b4-4a21-8966-214efee933d6" providerId="ADAL" clId="{9EB3B210-4DD4-436C-A67B-F36A1852A58A}" dt="2025-11-21T12:57:38.759" v="9833" actId="207"/>
        <pc:sldMkLst>
          <pc:docMk/>
          <pc:sldMk cId="2061117384" sldId="278"/>
        </pc:sldMkLst>
      </pc:sldChg>
      <pc:sldChg chg="add del">
        <pc:chgData name="Waldenmaier, Mark (HEALTH)" userId="3890a5ce-a2b4-4a21-8966-214efee933d6" providerId="ADAL" clId="{9EB3B210-4DD4-436C-A67B-F36A1852A58A}" dt="2025-11-18T20:06:09.062" v="4630" actId="47"/>
        <pc:sldMkLst>
          <pc:docMk/>
          <pc:sldMk cId="4227985976" sldId="279"/>
        </pc:sldMkLst>
      </pc:sldChg>
      <pc:sldChg chg="addSp delSp modSp add mod">
        <pc:chgData name="Waldenmaier, Mark (HEALTH)" userId="3890a5ce-a2b4-4a21-8966-214efee933d6" providerId="ADAL" clId="{9EB3B210-4DD4-436C-A67B-F36A1852A58A}" dt="2025-11-18T20:24:09.468" v="5045" actId="1076"/>
        <pc:sldMkLst>
          <pc:docMk/>
          <pc:sldMk cId="3779515025" sldId="281"/>
        </pc:sldMkLst>
      </pc:sldChg>
      <pc:sldChg chg="addSp delSp modSp mod">
        <pc:chgData name="Waldenmaier, Mark (HEALTH)" userId="3890a5ce-a2b4-4a21-8966-214efee933d6" providerId="ADAL" clId="{9EB3B210-4DD4-436C-A67B-F36A1852A58A}" dt="2025-11-21T12:53:49.482" v="9734" actId="13926"/>
        <pc:sldMkLst>
          <pc:docMk/>
          <pc:sldMk cId="1936778481" sldId="283"/>
        </pc:sldMkLst>
      </pc:sldChg>
      <pc:sldChg chg="addSp delSp modSp del mod">
        <pc:chgData name="Waldenmaier, Mark (HEALTH)" userId="3890a5ce-a2b4-4a21-8966-214efee933d6" providerId="ADAL" clId="{9EB3B210-4DD4-436C-A67B-F36A1852A58A}" dt="2025-11-18T18:11:36.335" v="3165" actId="47"/>
        <pc:sldMkLst>
          <pc:docMk/>
          <pc:sldMk cId="3634695354" sldId="297"/>
        </pc:sldMkLst>
      </pc:sldChg>
      <pc:sldChg chg="del">
        <pc:chgData name="Waldenmaier, Mark (HEALTH)" userId="3890a5ce-a2b4-4a21-8966-214efee933d6" providerId="ADAL" clId="{9EB3B210-4DD4-436C-A67B-F36A1852A58A}" dt="2025-11-18T18:51:14.732" v="4473" actId="47"/>
        <pc:sldMkLst>
          <pc:docMk/>
          <pc:sldMk cId="3570335966" sldId="298"/>
        </pc:sldMkLst>
      </pc:sldChg>
      <pc:sldChg chg="delSp modSp add mod">
        <pc:chgData name="Waldenmaier, Mark (HEALTH)" userId="3890a5ce-a2b4-4a21-8966-214efee933d6" providerId="ADAL" clId="{9EB3B210-4DD4-436C-A67B-F36A1852A58A}" dt="2025-11-18T18:36:51.579" v="4046" actId="113"/>
        <pc:sldMkLst>
          <pc:docMk/>
          <pc:sldMk cId="622261631" sldId="301"/>
        </pc:sldMkLst>
      </pc:sldChg>
      <pc:sldChg chg="addSp delSp modSp add del mod chgLayout">
        <pc:chgData name="Waldenmaier, Mark (HEALTH)" userId="3890a5ce-a2b4-4a21-8966-214efee933d6" providerId="ADAL" clId="{9EB3B210-4DD4-436C-A67B-F36A1852A58A}" dt="2025-11-18T20:07:43.727" v="4690" actId="47"/>
        <pc:sldMkLst>
          <pc:docMk/>
          <pc:sldMk cId="3512776158" sldId="302"/>
        </pc:sldMkLst>
      </pc:sldChg>
      <pc:sldChg chg="modSp add del mod">
        <pc:chgData name="Waldenmaier, Mark (HEALTH)" userId="3890a5ce-a2b4-4a21-8966-214efee933d6" providerId="ADAL" clId="{9EB3B210-4DD4-436C-A67B-F36A1852A58A}" dt="2025-11-19T15:11:34.071" v="8759" actId="20577"/>
        <pc:sldMkLst>
          <pc:docMk/>
          <pc:sldMk cId="1457418867" sldId="557"/>
        </pc:sldMkLst>
      </pc:sldChg>
      <pc:sldChg chg="del">
        <pc:chgData name="Waldenmaier, Mark (HEALTH)" userId="3890a5ce-a2b4-4a21-8966-214efee933d6" providerId="ADAL" clId="{9EB3B210-4DD4-436C-A67B-F36A1852A58A}" dt="2025-11-18T18:51:21.386" v="4476" actId="47"/>
        <pc:sldMkLst>
          <pc:docMk/>
          <pc:sldMk cId="3320939981" sldId="651"/>
        </pc:sldMkLst>
      </pc:sldChg>
      <pc:sldChg chg="add del">
        <pc:chgData name="Waldenmaier, Mark (HEALTH)" userId="3890a5ce-a2b4-4a21-8966-214efee933d6" providerId="ADAL" clId="{9EB3B210-4DD4-436C-A67B-F36A1852A58A}" dt="2025-11-18T18:51:58.520" v="4493" actId="47"/>
        <pc:sldMkLst>
          <pc:docMk/>
          <pc:sldMk cId="1968317633" sldId="2145707424"/>
        </pc:sldMkLst>
      </pc:sldChg>
      <pc:sldChg chg="del">
        <pc:chgData name="Waldenmaier, Mark (HEALTH)" userId="3890a5ce-a2b4-4a21-8966-214efee933d6" providerId="ADAL" clId="{9EB3B210-4DD4-436C-A67B-F36A1852A58A}" dt="2025-11-18T18:53:36.068" v="4505" actId="47"/>
        <pc:sldMkLst>
          <pc:docMk/>
          <pc:sldMk cId="264075567" sldId="2145707430"/>
        </pc:sldMkLst>
      </pc:sldChg>
      <pc:sldChg chg="del">
        <pc:chgData name="Waldenmaier, Mark (HEALTH)" userId="3890a5ce-a2b4-4a21-8966-214efee933d6" providerId="ADAL" clId="{9EB3B210-4DD4-436C-A67B-F36A1852A58A}" dt="2025-11-18T18:51:40.487" v="4482" actId="47"/>
        <pc:sldMkLst>
          <pc:docMk/>
          <pc:sldMk cId="452458095" sldId="2145707453"/>
        </pc:sldMkLst>
      </pc:sldChg>
      <pc:sldChg chg="del">
        <pc:chgData name="Waldenmaier, Mark (HEALTH)" userId="3890a5ce-a2b4-4a21-8966-214efee933d6" providerId="ADAL" clId="{9EB3B210-4DD4-436C-A67B-F36A1852A58A}" dt="2025-11-18T18:51:39.214" v="4481" actId="47"/>
        <pc:sldMkLst>
          <pc:docMk/>
          <pc:sldMk cId="3311236248" sldId="2145707461"/>
        </pc:sldMkLst>
      </pc:sldChg>
      <pc:sldChg chg="del">
        <pc:chgData name="Waldenmaier, Mark (HEALTH)" userId="3890a5ce-a2b4-4a21-8966-214efee933d6" providerId="ADAL" clId="{9EB3B210-4DD4-436C-A67B-F36A1852A58A}" dt="2025-11-18T18:52:02.820" v="4494" actId="47"/>
        <pc:sldMkLst>
          <pc:docMk/>
          <pc:sldMk cId="1726649828" sldId="2145707462"/>
        </pc:sldMkLst>
      </pc:sldChg>
      <pc:sldChg chg="del">
        <pc:chgData name="Waldenmaier, Mark (HEALTH)" userId="3890a5ce-a2b4-4a21-8966-214efee933d6" providerId="ADAL" clId="{9EB3B210-4DD4-436C-A67B-F36A1852A58A}" dt="2025-11-18T18:51:36.422" v="4478" actId="47"/>
        <pc:sldMkLst>
          <pc:docMk/>
          <pc:sldMk cId="1559576407" sldId="2145707475"/>
        </pc:sldMkLst>
      </pc:sldChg>
      <pc:sldChg chg="del">
        <pc:chgData name="Waldenmaier, Mark (HEALTH)" userId="3890a5ce-a2b4-4a21-8966-214efee933d6" providerId="ADAL" clId="{9EB3B210-4DD4-436C-A67B-F36A1852A58A}" dt="2025-11-18T18:51:38.118" v="4480" actId="47"/>
        <pc:sldMkLst>
          <pc:docMk/>
          <pc:sldMk cId="3845476675" sldId="2145707486"/>
        </pc:sldMkLst>
      </pc:sldChg>
      <pc:sldChg chg="del">
        <pc:chgData name="Waldenmaier, Mark (HEALTH)" userId="3890a5ce-a2b4-4a21-8966-214efee933d6" providerId="ADAL" clId="{9EB3B210-4DD4-436C-A67B-F36A1852A58A}" dt="2025-11-18T18:52:45.388" v="4498" actId="47"/>
        <pc:sldMkLst>
          <pc:docMk/>
          <pc:sldMk cId="2046467035" sldId="2145707487"/>
        </pc:sldMkLst>
      </pc:sldChg>
      <pc:sldChg chg="del">
        <pc:chgData name="Waldenmaier, Mark (HEALTH)" userId="3890a5ce-a2b4-4a21-8966-214efee933d6" providerId="ADAL" clId="{9EB3B210-4DD4-436C-A67B-F36A1852A58A}" dt="2025-11-18T18:51:18.200" v="4475" actId="47"/>
        <pc:sldMkLst>
          <pc:docMk/>
          <pc:sldMk cId="3385617733" sldId="2145707546"/>
        </pc:sldMkLst>
      </pc:sldChg>
      <pc:sldChg chg="del">
        <pc:chgData name="Waldenmaier, Mark (HEALTH)" userId="3890a5ce-a2b4-4a21-8966-214efee933d6" providerId="ADAL" clId="{9EB3B210-4DD4-436C-A67B-F36A1852A58A}" dt="2025-11-18T18:51:22.217" v="4477" actId="47"/>
        <pc:sldMkLst>
          <pc:docMk/>
          <pc:sldMk cId="3473826697" sldId="2145707547"/>
        </pc:sldMkLst>
      </pc:sldChg>
      <pc:sldChg chg="del">
        <pc:chgData name="Waldenmaier, Mark (HEALTH)" userId="3890a5ce-a2b4-4a21-8966-214efee933d6" providerId="ADAL" clId="{9EB3B210-4DD4-436C-A67B-F36A1852A58A}" dt="2025-11-18T18:51:37.442" v="4479" actId="47"/>
        <pc:sldMkLst>
          <pc:docMk/>
          <pc:sldMk cId="1138971942" sldId="2145707548"/>
        </pc:sldMkLst>
      </pc:sldChg>
      <pc:sldChg chg="add del">
        <pc:chgData name="Waldenmaier, Mark (HEALTH)" userId="3890a5ce-a2b4-4a21-8966-214efee933d6" providerId="ADAL" clId="{9EB3B210-4DD4-436C-A67B-F36A1852A58A}" dt="2025-11-18T20:51:12.309" v="5608" actId="47"/>
        <pc:sldMkLst>
          <pc:docMk/>
          <pc:sldMk cId="1200607213" sldId="2145707568"/>
        </pc:sldMkLst>
      </pc:sldChg>
      <pc:sldChg chg="addSp delSp modSp add mod">
        <pc:chgData name="Waldenmaier, Mark (HEALTH)" userId="3890a5ce-a2b4-4a21-8966-214efee933d6" providerId="ADAL" clId="{9EB3B210-4DD4-436C-A67B-F36A1852A58A}" dt="2025-11-19T14:08:52.718" v="7879" actId="1076"/>
        <pc:sldMkLst>
          <pc:docMk/>
          <pc:sldMk cId="417625643" sldId="2145707597"/>
        </pc:sldMkLst>
      </pc:sldChg>
      <pc:sldChg chg="addSp delSp modSp add mod">
        <pc:chgData name="Waldenmaier, Mark (HEALTH)" userId="3890a5ce-a2b4-4a21-8966-214efee933d6" providerId="ADAL" clId="{9EB3B210-4DD4-436C-A67B-F36A1852A58A}" dt="2025-11-19T14:29:51.007" v="8559" actId="948"/>
        <pc:sldMkLst>
          <pc:docMk/>
          <pc:sldMk cId="1525139702" sldId="2145707603"/>
        </pc:sldMkLst>
      </pc:sldChg>
      <pc:sldChg chg="add del">
        <pc:chgData name="Waldenmaier, Mark (HEALTH)" userId="3890a5ce-a2b4-4a21-8966-214efee933d6" providerId="ADAL" clId="{9EB3B210-4DD4-436C-A67B-F36A1852A58A}" dt="2025-11-18T20:50:32.237" v="5607" actId="47"/>
        <pc:sldMkLst>
          <pc:docMk/>
          <pc:sldMk cId="2628666434" sldId="2147478919"/>
        </pc:sldMkLst>
      </pc:sldChg>
      <pc:sldChg chg="del">
        <pc:chgData name="Waldenmaier, Mark (HEALTH)" userId="3890a5ce-a2b4-4a21-8966-214efee933d6" providerId="ADAL" clId="{9EB3B210-4DD4-436C-A67B-F36A1852A58A}" dt="2025-11-18T18:51:12.691" v="4472" actId="47"/>
        <pc:sldMkLst>
          <pc:docMk/>
          <pc:sldMk cId="1251159466" sldId="2147478920"/>
        </pc:sldMkLst>
      </pc:sldChg>
      <pc:sldChg chg="del">
        <pc:chgData name="Waldenmaier, Mark (HEALTH)" userId="3890a5ce-a2b4-4a21-8966-214efee933d6" providerId="ADAL" clId="{9EB3B210-4DD4-436C-A67B-F36A1852A58A}" dt="2025-11-18T18:52:47.444" v="4499" actId="47"/>
        <pc:sldMkLst>
          <pc:docMk/>
          <pc:sldMk cId="3457683040" sldId="2147478921"/>
        </pc:sldMkLst>
      </pc:sldChg>
      <pc:sldChg chg="del">
        <pc:chgData name="Waldenmaier, Mark (HEALTH)" userId="3890a5ce-a2b4-4a21-8966-214efee933d6" providerId="ADAL" clId="{9EB3B210-4DD4-436C-A67B-F36A1852A58A}" dt="2025-11-18T18:52:51.669" v="4501" actId="47"/>
        <pc:sldMkLst>
          <pc:docMk/>
          <pc:sldMk cId="309466398" sldId="2147478922"/>
        </pc:sldMkLst>
      </pc:sldChg>
      <pc:sldChg chg="del">
        <pc:chgData name="Waldenmaier, Mark (HEALTH)" userId="3890a5ce-a2b4-4a21-8966-214efee933d6" providerId="ADAL" clId="{9EB3B210-4DD4-436C-A67B-F36A1852A58A}" dt="2025-11-18T18:52:48.684" v="4500" actId="47"/>
        <pc:sldMkLst>
          <pc:docMk/>
          <pc:sldMk cId="1974203252" sldId="2147478923"/>
        </pc:sldMkLst>
      </pc:sldChg>
      <pc:sldChg chg="addSp modSp add del mod ord modAnim">
        <pc:chgData name="Waldenmaier, Mark (HEALTH)" userId="3890a5ce-a2b4-4a21-8966-214efee933d6" providerId="ADAL" clId="{9EB3B210-4DD4-436C-A67B-F36A1852A58A}" dt="2025-11-21T12:57:02.627" v="9832" actId="207"/>
        <pc:sldMkLst>
          <pc:docMk/>
          <pc:sldMk cId="433368647" sldId="2147478941"/>
        </pc:sldMkLst>
      </pc:sldChg>
      <pc:sldChg chg="del">
        <pc:chgData name="Waldenmaier, Mark (HEALTH)" userId="3890a5ce-a2b4-4a21-8966-214efee933d6" providerId="ADAL" clId="{9EB3B210-4DD4-436C-A67B-F36A1852A58A}" dt="2025-11-18T20:51:20.439" v="5609" actId="47"/>
        <pc:sldMkLst>
          <pc:docMk/>
          <pc:sldMk cId="4076821762" sldId="2147478954"/>
        </pc:sldMkLst>
      </pc:sldChg>
      <pc:sldChg chg="del">
        <pc:chgData name="Waldenmaier, Mark (HEALTH)" userId="3890a5ce-a2b4-4a21-8966-214efee933d6" providerId="ADAL" clId="{9EB3B210-4DD4-436C-A67B-F36A1852A58A}" dt="2025-11-18T20:51:22.350" v="5610" actId="47"/>
        <pc:sldMkLst>
          <pc:docMk/>
          <pc:sldMk cId="1751747479" sldId="2147478955"/>
        </pc:sldMkLst>
      </pc:sldChg>
      <pc:sldChg chg="del">
        <pc:chgData name="Waldenmaier, Mark (HEALTH)" userId="3890a5ce-a2b4-4a21-8966-214efee933d6" providerId="ADAL" clId="{9EB3B210-4DD4-436C-A67B-F36A1852A58A}" dt="2025-11-18T18:53:37.937" v="4506" actId="47"/>
        <pc:sldMkLst>
          <pc:docMk/>
          <pc:sldMk cId="1023365804" sldId="2147478957"/>
        </pc:sldMkLst>
      </pc:sldChg>
      <pc:sldChg chg="del">
        <pc:chgData name="Waldenmaier, Mark (HEALTH)" userId="3890a5ce-a2b4-4a21-8966-214efee933d6" providerId="ADAL" clId="{9EB3B210-4DD4-436C-A67B-F36A1852A58A}" dt="2025-11-18T18:51:16.882" v="4474" actId="47"/>
        <pc:sldMkLst>
          <pc:docMk/>
          <pc:sldMk cId="4151299969" sldId="2147478959"/>
        </pc:sldMkLst>
      </pc:sldChg>
      <pc:sldChg chg="del">
        <pc:chgData name="Waldenmaier, Mark (HEALTH)" userId="3890a5ce-a2b4-4a21-8966-214efee933d6" providerId="ADAL" clId="{9EB3B210-4DD4-436C-A67B-F36A1852A58A}" dt="2025-11-18T20:51:23.559" v="5611" actId="47"/>
        <pc:sldMkLst>
          <pc:docMk/>
          <pc:sldMk cId="2786586497" sldId="2147478961"/>
        </pc:sldMkLst>
      </pc:sldChg>
      <pc:sldChg chg="del">
        <pc:chgData name="Waldenmaier, Mark (HEALTH)" userId="3890a5ce-a2b4-4a21-8966-214efee933d6" providerId="ADAL" clId="{9EB3B210-4DD4-436C-A67B-F36A1852A58A}" dt="2025-11-18T18:52:12.933" v="4495" actId="47"/>
        <pc:sldMkLst>
          <pc:docMk/>
          <pc:sldMk cId="794455375" sldId="2147478962"/>
        </pc:sldMkLst>
      </pc:sldChg>
      <pc:sldChg chg="addSp delSp modSp mod ord modAnim">
        <pc:chgData name="Waldenmaier, Mark (HEALTH)" userId="3890a5ce-a2b4-4a21-8966-214efee933d6" providerId="ADAL" clId="{9EB3B210-4DD4-436C-A67B-F36A1852A58A}" dt="2025-11-19T16:06:07.894" v="8873" actId="1076"/>
        <pc:sldMkLst>
          <pc:docMk/>
          <pc:sldMk cId="3303223514" sldId="2147478963"/>
        </pc:sldMkLst>
      </pc:sldChg>
      <pc:sldChg chg="addSp modSp mod ord modAnim">
        <pc:chgData name="Waldenmaier, Mark (HEALTH)" userId="3890a5ce-a2b4-4a21-8966-214efee933d6" providerId="ADAL" clId="{9EB3B210-4DD4-436C-A67B-F36A1852A58A}" dt="2025-11-21T12:56:22.337" v="9799" actId="20577"/>
        <pc:sldMkLst>
          <pc:docMk/>
          <pc:sldMk cId="593490138" sldId="2147478968"/>
        </pc:sldMkLst>
      </pc:sldChg>
      <pc:sldChg chg="del">
        <pc:chgData name="Waldenmaier, Mark (HEALTH)" userId="3890a5ce-a2b4-4a21-8966-214efee933d6" providerId="ADAL" clId="{9EB3B210-4DD4-436C-A67B-F36A1852A58A}" dt="2025-11-18T18:52:17.625" v="4496" actId="47"/>
        <pc:sldMkLst>
          <pc:docMk/>
          <pc:sldMk cId="2932418345" sldId="2147478970"/>
        </pc:sldMkLst>
      </pc:sldChg>
      <pc:sldChg chg="modSp mod ord">
        <pc:chgData name="Waldenmaier, Mark (HEALTH)" userId="3890a5ce-a2b4-4a21-8966-214efee933d6" providerId="ADAL" clId="{9EB3B210-4DD4-436C-A67B-F36A1852A58A}" dt="2025-11-21T12:56:43.646" v="9831" actId="20577"/>
        <pc:sldMkLst>
          <pc:docMk/>
          <pc:sldMk cId="2149442287" sldId="2147478971"/>
        </pc:sldMkLst>
      </pc:sldChg>
      <pc:sldChg chg="del ord">
        <pc:chgData name="Waldenmaier, Mark (HEALTH)" userId="3890a5ce-a2b4-4a21-8966-214efee933d6" providerId="ADAL" clId="{9EB3B210-4DD4-436C-A67B-F36A1852A58A}" dt="2025-11-18T18:53:30.681" v="4504" actId="47"/>
        <pc:sldMkLst>
          <pc:docMk/>
          <pc:sldMk cId="3826069859" sldId="2147478972"/>
        </pc:sldMkLst>
      </pc:sldChg>
      <pc:sldChg chg="add del ord">
        <pc:chgData name="Waldenmaier, Mark (HEALTH)" userId="3890a5ce-a2b4-4a21-8966-214efee933d6" providerId="ADAL" clId="{9EB3B210-4DD4-436C-A67B-F36A1852A58A}" dt="2025-11-18T18:52:27.944" v="4497" actId="47"/>
        <pc:sldMkLst>
          <pc:docMk/>
          <pc:sldMk cId="3035930011" sldId="2147478973"/>
        </pc:sldMkLst>
      </pc:sldChg>
      <pc:sldChg chg="addSp modSp mod ord">
        <pc:chgData name="Waldenmaier, Mark (HEALTH)" userId="3890a5ce-a2b4-4a21-8966-214efee933d6" providerId="ADAL" clId="{9EB3B210-4DD4-436C-A67B-F36A1852A58A}" dt="2025-11-21T12:56:30.145" v="9807" actId="20577"/>
        <pc:sldMkLst>
          <pc:docMk/>
          <pc:sldMk cId="3781246726" sldId="2147478974"/>
        </pc:sldMkLst>
      </pc:sldChg>
      <pc:sldChg chg="add del">
        <pc:chgData name="Waldenmaier, Mark (HEALTH)" userId="3890a5ce-a2b4-4a21-8966-214efee933d6" providerId="ADAL" clId="{9EB3B210-4DD4-436C-A67B-F36A1852A58A}" dt="2025-11-18T20:51:37.264" v="5614" actId="47"/>
        <pc:sldMkLst>
          <pc:docMk/>
          <pc:sldMk cId="1330402575" sldId="2147478975"/>
        </pc:sldMkLst>
      </pc:sldChg>
      <pc:sldChg chg="modSp add mod">
        <pc:chgData name="Waldenmaier, Mark (HEALTH)" userId="3890a5ce-a2b4-4a21-8966-214efee933d6" providerId="ADAL" clId="{9EB3B210-4DD4-436C-A67B-F36A1852A58A}" dt="2025-11-21T12:53:54.250" v="9735" actId="13926"/>
        <pc:sldMkLst>
          <pc:docMk/>
          <pc:sldMk cId="1537627176" sldId="2147478976"/>
        </pc:sldMkLst>
      </pc:sldChg>
      <pc:sldChg chg="addSp delSp modSp add mod modAnim">
        <pc:chgData name="Waldenmaier, Mark (HEALTH)" userId="3890a5ce-a2b4-4a21-8966-214efee933d6" providerId="ADAL" clId="{9EB3B210-4DD4-436C-A67B-F36A1852A58A}" dt="2025-11-19T16:06:17.297" v="8879" actId="20577"/>
        <pc:sldMkLst>
          <pc:docMk/>
          <pc:sldMk cId="2347390781" sldId="2147478977"/>
        </pc:sldMkLst>
      </pc:sldChg>
      <pc:sldChg chg="addSp modSp add mod ord modAnim">
        <pc:chgData name="Waldenmaier, Mark (HEALTH)" userId="3890a5ce-a2b4-4a21-8966-214efee933d6" providerId="ADAL" clId="{9EB3B210-4DD4-436C-A67B-F36A1852A58A}" dt="2025-11-19T12:59:04.878" v="6127"/>
        <pc:sldMkLst>
          <pc:docMk/>
          <pc:sldMk cId="2080663670" sldId="2147478978"/>
        </pc:sldMkLst>
      </pc:sldChg>
      <pc:sldChg chg="addSp delSp modSp add mod modAnim">
        <pc:chgData name="Waldenmaier, Mark (HEALTH)" userId="3890a5ce-a2b4-4a21-8966-214efee933d6" providerId="ADAL" clId="{9EB3B210-4DD4-436C-A67B-F36A1852A58A}" dt="2025-11-17T17:22:02.231" v="996"/>
        <pc:sldMkLst>
          <pc:docMk/>
          <pc:sldMk cId="919382142" sldId="2147478979"/>
        </pc:sldMkLst>
      </pc:sldChg>
      <pc:sldChg chg="addSp delSp modSp new mod">
        <pc:chgData name="Waldenmaier, Mark (HEALTH)" userId="3890a5ce-a2b4-4a21-8966-214efee933d6" providerId="ADAL" clId="{9EB3B210-4DD4-436C-A67B-F36A1852A58A}" dt="2025-11-17T17:35:35.033" v="1897" actId="1076"/>
        <pc:sldMkLst>
          <pc:docMk/>
          <pc:sldMk cId="927573305" sldId="2147478980"/>
        </pc:sldMkLst>
      </pc:sldChg>
      <pc:sldChg chg="addSp delSp modSp add mod ord delAnim modAnim">
        <pc:chgData name="Waldenmaier, Mark (HEALTH)" userId="3890a5ce-a2b4-4a21-8966-214efee933d6" providerId="ADAL" clId="{9EB3B210-4DD4-436C-A67B-F36A1852A58A}" dt="2025-11-18T17:52:02.136" v="2797" actId="1038"/>
        <pc:sldMkLst>
          <pc:docMk/>
          <pc:sldMk cId="784858815" sldId="2147478981"/>
        </pc:sldMkLst>
      </pc:sldChg>
      <pc:sldChg chg="addSp delSp modSp add mod ord">
        <pc:chgData name="Waldenmaier, Mark (HEALTH)" userId="3890a5ce-a2b4-4a21-8966-214efee933d6" providerId="ADAL" clId="{9EB3B210-4DD4-436C-A67B-F36A1852A58A}" dt="2025-11-20T13:19:22.868" v="9690" actId="6549"/>
        <pc:sldMkLst>
          <pc:docMk/>
          <pc:sldMk cId="3734234878" sldId="2147478982"/>
        </pc:sldMkLst>
      </pc:sldChg>
      <pc:sldChg chg="addSp modSp add mod ord">
        <pc:chgData name="Waldenmaier, Mark (HEALTH)" userId="3890a5ce-a2b4-4a21-8966-214efee933d6" providerId="ADAL" clId="{9EB3B210-4DD4-436C-A67B-F36A1852A58A}" dt="2025-11-19T16:49:14.532" v="9027" actId="1038"/>
        <pc:sldMkLst>
          <pc:docMk/>
          <pc:sldMk cId="842190656" sldId="2147478983"/>
        </pc:sldMkLst>
      </pc:sldChg>
      <pc:sldChg chg="addSp delSp modSp add mod ord">
        <pc:chgData name="Waldenmaier, Mark (HEALTH)" userId="3890a5ce-a2b4-4a21-8966-214efee933d6" providerId="ADAL" clId="{9EB3B210-4DD4-436C-A67B-F36A1852A58A}" dt="2025-11-18T18:11:24.557" v="3164" actId="1076"/>
        <pc:sldMkLst>
          <pc:docMk/>
          <pc:sldMk cId="1257547689" sldId="2147478984"/>
        </pc:sldMkLst>
      </pc:sldChg>
      <pc:sldChg chg="modSp add mod ord">
        <pc:chgData name="Waldenmaier, Mark (HEALTH)" userId="3890a5ce-a2b4-4a21-8966-214efee933d6" providerId="ADAL" clId="{9EB3B210-4DD4-436C-A67B-F36A1852A58A}" dt="2025-11-18T18:54:41.608" v="4517"/>
        <pc:sldMkLst>
          <pc:docMk/>
          <pc:sldMk cId="2463306636" sldId="2147478985"/>
        </pc:sldMkLst>
      </pc:sldChg>
      <pc:sldChg chg="modSp add mod ord">
        <pc:chgData name="Waldenmaier, Mark (HEALTH)" userId="3890a5ce-a2b4-4a21-8966-214efee933d6" providerId="ADAL" clId="{9EB3B210-4DD4-436C-A67B-F36A1852A58A}" dt="2025-11-18T18:54:14.788" v="4514" actId="20578"/>
        <pc:sldMkLst>
          <pc:docMk/>
          <pc:sldMk cId="1957541038" sldId="2147478986"/>
        </pc:sldMkLst>
      </pc:sldChg>
      <pc:sldChg chg="add del">
        <pc:chgData name="Waldenmaier, Mark (HEALTH)" userId="3890a5ce-a2b4-4a21-8966-214efee933d6" providerId="ADAL" clId="{9EB3B210-4DD4-436C-A67B-F36A1852A58A}" dt="2025-11-18T20:07:55.710" v="4694" actId="47"/>
        <pc:sldMkLst>
          <pc:docMk/>
          <pc:sldMk cId="449619695" sldId="2147478987"/>
        </pc:sldMkLst>
      </pc:sldChg>
      <pc:sldChg chg="add del">
        <pc:chgData name="Waldenmaier, Mark (HEALTH)" userId="3890a5ce-a2b4-4a21-8966-214efee933d6" providerId="ADAL" clId="{9EB3B210-4DD4-436C-A67B-F36A1852A58A}" dt="2025-11-18T20:04:54.120" v="4620" actId="47"/>
        <pc:sldMkLst>
          <pc:docMk/>
          <pc:sldMk cId="736721461" sldId="2147478988"/>
        </pc:sldMkLst>
      </pc:sldChg>
      <pc:sldChg chg="modSp add mod">
        <pc:chgData name="Waldenmaier, Mark (HEALTH)" userId="3890a5ce-a2b4-4a21-8966-214efee933d6" providerId="ADAL" clId="{9EB3B210-4DD4-436C-A67B-F36A1852A58A}" dt="2025-11-18T20:07:40.821" v="4689" actId="122"/>
        <pc:sldMkLst>
          <pc:docMk/>
          <pc:sldMk cId="1086450829" sldId="2147478988"/>
        </pc:sldMkLst>
      </pc:sldChg>
      <pc:sldChg chg="add del">
        <pc:chgData name="Waldenmaier, Mark (HEALTH)" userId="3890a5ce-a2b4-4a21-8966-214efee933d6" providerId="ADAL" clId="{9EB3B210-4DD4-436C-A67B-F36A1852A58A}" dt="2025-11-18T20:05:11.693" v="4624" actId="47"/>
        <pc:sldMkLst>
          <pc:docMk/>
          <pc:sldMk cId="1871121944" sldId="2147478988"/>
        </pc:sldMkLst>
      </pc:sldChg>
      <pc:sldChg chg="add del">
        <pc:chgData name="Waldenmaier, Mark (HEALTH)" userId="3890a5ce-a2b4-4a21-8966-214efee933d6" providerId="ADAL" clId="{9EB3B210-4DD4-436C-A67B-F36A1852A58A}" dt="2025-11-18T20:06:07.414" v="4628" actId="47"/>
        <pc:sldMkLst>
          <pc:docMk/>
          <pc:sldMk cId="2017197245" sldId="2147478988"/>
        </pc:sldMkLst>
      </pc:sldChg>
      <pc:sldChg chg="modSp add mod ord">
        <pc:chgData name="Waldenmaier, Mark (HEALTH)" userId="3890a5ce-a2b4-4a21-8966-214efee933d6" providerId="ADAL" clId="{9EB3B210-4DD4-436C-A67B-F36A1852A58A}" dt="2025-11-18T20:08:15.507" v="4716" actId="1076"/>
        <pc:sldMkLst>
          <pc:docMk/>
          <pc:sldMk cId="1134182646" sldId="2147478989"/>
        </pc:sldMkLst>
      </pc:sldChg>
      <pc:sldChg chg="addSp add del">
        <pc:chgData name="Waldenmaier, Mark (HEALTH)" userId="3890a5ce-a2b4-4a21-8966-214efee933d6" providerId="ADAL" clId="{9EB3B210-4DD4-436C-A67B-F36A1852A58A}" dt="2025-11-18T20:05:12.544" v="4625" actId="47"/>
        <pc:sldMkLst>
          <pc:docMk/>
          <pc:sldMk cId="2485102839" sldId="2147478989"/>
        </pc:sldMkLst>
      </pc:sldChg>
      <pc:sldChg chg="modSp add mod ord">
        <pc:chgData name="Waldenmaier, Mark (HEALTH)" userId="3890a5ce-a2b4-4a21-8966-214efee933d6" providerId="ADAL" clId="{9EB3B210-4DD4-436C-A67B-F36A1852A58A}" dt="2025-11-18T20:08:34.079" v="4728" actId="20577"/>
        <pc:sldMkLst>
          <pc:docMk/>
          <pc:sldMk cId="4286663328" sldId="2147478990"/>
        </pc:sldMkLst>
      </pc:sldChg>
      <pc:sldChg chg="addSp delSp modSp add mod modClrScheme chgLayout">
        <pc:chgData name="Waldenmaier, Mark (HEALTH)" userId="3890a5ce-a2b4-4a21-8966-214efee933d6" providerId="ADAL" clId="{9EB3B210-4DD4-436C-A67B-F36A1852A58A}" dt="2025-11-19T13:47:59.174" v="7025" actId="20577"/>
        <pc:sldMkLst>
          <pc:docMk/>
          <pc:sldMk cId="2556155668" sldId="2147478991"/>
        </pc:sldMkLst>
      </pc:sldChg>
      <pc:sldChg chg="modSp add del mod">
        <pc:chgData name="Waldenmaier, Mark (HEALTH)" userId="3890a5ce-a2b4-4a21-8966-214efee933d6" providerId="ADAL" clId="{9EB3B210-4DD4-436C-A67B-F36A1852A58A}" dt="2025-11-18T20:24:13.834" v="5046" actId="47"/>
        <pc:sldMkLst>
          <pc:docMk/>
          <pc:sldMk cId="3177846443" sldId="2147478991"/>
        </pc:sldMkLst>
      </pc:sldChg>
      <pc:sldChg chg="modSp add mod ord">
        <pc:chgData name="Waldenmaier, Mark (HEALTH)" userId="3890a5ce-a2b4-4a21-8966-214efee933d6" providerId="ADAL" clId="{9EB3B210-4DD4-436C-A67B-F36A1852A58A}" dt="2025-11-21T12:59:19.908" v="9950" actId="13926"/>
        <pc:sldMkLst>
          <pc:docMk/>
          <pc:sldMk cId="2914664199" sldId="2147478992"/>
        </pc:sldMkLst>
      </pc:sldChg>
      <pc:sldChg chg="addSp delSp modSp add mod ord modNotesTx">
        <pc:chgData name="Waldenmaier, Mark (HEALTH)" userId="3890a5ce-a2b4-4a21-8966-214efee933d6" providerId="ADAL" clId="{9EB3B210-4DD4-436C-A67B-F36A1852A58A}" dt="2025-11-20T13:20:42.051" v="9692" actId="1076"/>
        <pc:sldMkLst>
          <pc:docMk/>
          <pc:sldMk cId="3130683495" sldId="2147478993"/>
        </pc:sldMkLst>
      </pc:sldChg>
      <pc:sldChg chg="addSp modSp add mod ord">
        <pc:chgData name="Waldenmaier, Mark (HEALTH)" userId="3890a5ce-a2b4-4a21-8966-214efee933d6" providerId="ADAL" clId="{9EB3B210-4DD4-436C-A67B-F36A1852A58A}" dt="2025-11-19T13:36:00.440" v="6786" actId="14100"/>
        <pc:sldMkLst>
          <pc:docMk/>
          <pc:sldMk cId="491307898" sldId="2147478994"/>
        </pc:sldMkLst>
      </pc:sldChg>
      <pc:sldChg chg="modSp add mod ord">
        <pc:chgData name="Waldenmaier, Mark (HEALTH)" userId="3890a5ce-a2b4-4a21-8966-214efee933d6" providerId="ADAL" clId="{9EB3B210-4DD4-436C-A67B-F36A1852A58A}" dt="2025-11-19T13:36:16.960" v="6814" actId="20577"/>
        <pc:sldMkLst>
          <pc:docMk/>
          <pc:sldMk cId="4259127561" sldId="2147478995"/>
        </pc:sldMkLst>
      </pc:sldChg>
      <pc:sldChg chg="delSp modSp add mod ord">
        <pc:chgData name="Waldenmaier, Mark (HEALTH)" userId="3890a5ce-a2b4-4a21-8966-214efee933d6" providerId="ADAL" clId="{9EB3B210-4DD4-436C-A67B-F36A1852A58A}" dt="2025-11-19T15:11:51.937" v="8763" actId="12"/>
        <pc:sldMkLst>
          <pc:docMk/>
          <pc:sldMk cId="3442634758" sldId="2147478996"/>
        </pc:sldMkLst>
      </pc:sldChg>
      <pc:sldChg chg="addSp delSp modSp add mod ord modAnim">
        <pc:chgData name="Waldenmaier, Mark (HEALTH)" userId="3890a5ce-a2b4-4a21-8966-214efee933d6" providerId="ADAL" clId="{9EB3B210-4DD4-436C-A67B-F36A1852A58A}" dt="2025-11-20T13:18:46.238" v="9689" actId="1038"/>
        <pc:sldMkLst>
          <pc:docMk/>
          <pc:sldMk cId="1868524871" sldId="2147478997"/>
        </pc:sldMkLst>
      </pc:sldChg>
      <pc:sldChg chg="addSp modSp add mod ord">
        <pc:chgData name="Waldenmaier, Mark (HEALTH)" userId="3890a5ce-a2b4-4a21-8966-214efee933d6" providerId="ADAL" clId="{9EB3B210-4DD4-436C-A67B-F36A1852A58A}" dt="2025-11-19T14:18:11.591" v="8176" actId="113"/>
        <pc:sldMkLst>
          <pc:docMk/>
          <pc:sldMk cId="1770964200" sldId="2147478998"/>
        </pc:sldMkLst>
      </pc:sldChg>
      <pc:sldChg chg="addSp delSp modSp add mod">
        <pc:chgData name="Waldenmaier, Mark (HEALTH)" userId="3890a5ce-a2b4-4a21-8966-214efee933d6" providerId="ADAL" clId="{9EB3B210-4DD4-436C-A67B-F36A1852A58A}" dt="2025-11-19T15:03:22.227" v="8602" actId="1076"/>
        <pc:sldMkLst>
          <pc:docMk/>
          <pc:sldMk cId="1611528563" sldId="2147478999"/>
        </pc:sldMkLst>
      </pc:sldChg>
      <pc:sldChg chg="addSp modSp add mod">
        <pc:chgData name="Waldenmaier, Mark (HEALTH)" userId="3890a5ce-a2b4-4a21-8966-214efee933d6" providerId="ADAL" clId="{9EB3B210-4DD4-436C-A67B-F36A1852A58A}" dt="2025-11-19T14:37:24.431" v="8599" actId="1076"/>
        <pc:sldMkLst>
          <pc:docMk/>
          <pc:sldMk cId="3939790119" sldId="2147479000"/>
        </pc:sldMkLst>
      </pc:sldChg>
      <pc:sldChg chg="modSp new mod">
        <pc:chgData name="Waldenmaier, Mark (HEALTH)" userId="3890a5ce-a2b4-4a21-8966-214efee933d6" providerId="ADAL" clId="{9EB3B210-4DD4-436C-A67B-F36A1852A58A}" dt="2025-11-19T19:34:58.456" v="9684" actId="20577"/>
        <pc:sldMkLst>
          <pc:docMk/>
          <pc:sldMk cId="710812999" sldId="2147479001"/>
        </pc:sldMkLst>
      </pc:sldChg>
      <pc:sldMasterChg chg="add del addSldLayout delSldLayout">
        <pc:chgData name="Waldenmaier, Mark (HEALTH)" userId="3890a5ce-a2b4-4a21-8966-214efee933d6" providerId="ADAL" clId="{9EB3B210-4DD4-436C-A67B-F36A1852A58A}" dt="2025-11-19T13:45:13.501" v="6902" actId="700"/>
        <pc:sldMasterMkLst>
          <pc:docMk/>
          <pc:sldMasterMk cId="3394090751" sldId="2147483805"/>
        </pc:sldMasterMkLst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684785940" sldId="2147483806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197635782" sldId="2147483807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525673198" sldId="2147483808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1922560879" sldId="2147483809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2254257905" sldId="2147483810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631425445" sldId="2147483811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60420799" sldId="2147483812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3702258395" sldId="2147483813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2873611617" sldId="2147483814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1803660999" sldId="2147483815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1703863435" sldId="2147483816"/>
          </pc:sldLayoutMkLst>
        </pc:sldLayoutChg>
        <pc:sldLayoutChg chg="add del">
          <pc:chgData name="Waldenmaier, Mark (HEALTH)" userId="3890a5ce-a2b4-4a21-8966-214efee933d6" providerId="ADAL" clId="{9EB3B210-4DD4-436C-A67B-F36A1852A58A}" dt="2025-11-19T13:45:13.501" v="6902" actId="700"/>
          <pc:sldLayoutMkLst>
            <pc:docMk/>
            <pc:sldMasterMk cId="3394090751" sldId="2147483805"/>
            <pc:sldLayoutMk cId="1647672581" sldId="2147483817"/>
          </pc:sldLayoutMkLst>
        </pc:sldLayoutChg>
      </pc:sldMasterChg>
      <pc:sldMasterChg chg="del delSldLayout">
        <pc:chgData name="Waldenmaier, Mark (HEALTH)" userId="3890a5ce-a2b4-4a21-8966-214efee933d6" providerId="ADAL" clId="{9EB3B210-4DD4-436C-A67B-F36A1852A58A}" dt="2025-11-18T20:05:12.544" v="4625" actId="47"/>
        <pc:sldMasterMkLst>
          <pc:docMk/>
          <pc:sldMasterMk cId="3112970516" sldId="2147483818"/>
        </pc:sldMasterMkLst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886714268" sldId="2147483819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3623376139" sldId="2147483820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900808143" sldId="2147483821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4262317295" sldId="2147483822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2689702487" sldId="2147483823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4090114567" sldId="2147483824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129604465" sldId="2147483825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1974234058" sldId="2147483826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4137759089" sldId="2147483827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2693895722" sldId="2147483828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4216166088" sldId="2147483829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633789219" sldId="2147483830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2867041152" sldId="2147483831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2829132960" sldId="2147483832"/>
          </pc:sldLayoutMkLst>
        </pc:sldLayoutChg>
        <pc:sldLayoutChg chg="del">
          <pc:chgData name="Waldenmaier, Mark (HEALTH)" userId="3890a5ce-a2b4-4a21-8966-214efee933d6" providerId="ADAL" clId="{9EB3B210-4DD4-436C-A67B-F36A1852A58A}" dt="2025-11-18T20:05:12.544" v="4625" actId="47"/>
          <pc:sldLayoutMkLst>
            <pc:docMk/>
            <pc:sldMasterMk cId="3112970516" sldId="2147483818"/>
            <pc:sldLayoutMk cId="2060695629" sldId="2147483833"/>
          </pc:sldLayoutMkLst>
        </pc:sldLayoutChg>
      </pc:sldMasterChg>
    </pc:docChg>
  </pc:docChgLst>
  <pc:docChgLst>
    <pc:chgData name="Alaali, Zahra S (HEALTH)" userId="S::zahra.alaali@health.ny.gov::e472fd58-aee6-4d6d-8f69-98bd7d3fdd87" providerId="AD" clId="Web-{0C397EEC-8F83-7A99-367C-2E01F5CFAB75}"/>
    <pc:docChg chg="addSld modSld modSection">
      <pc:chgData name="Alaali, Zahra S (HEALTH)" userId="S::zahra.alaali@health.ny.gov::e472fd58-aee6-4d6d-8f69-98bd7d3fdd87" providerId="AD" clId="Web-{0C397EEC-8F83-7A99-367C-2E01F5CFAB75}" dt="2025-08-27T13:07:23.369" v="16" actId="20577"/>
      <pc:docMkLst>
        <pc:docMk/>
      </pc:docMkLst>
      <pc:sldChg chg="modSp add replId">
        <pc:chgData name="Alaali, Zahra S (HEALTH)" userId="S::zahra.alaali@health.ny.gov::e472fd58-aee6-4d6d-8f69-98bd7d3fdd87" providerId="AD" clId="Web-{0C397EEC-8F83-7A99-367C-2E01F5CFAB75}" dt="2025-08-27T13:07:23.369" v="16" actId="20577"/>
        <pc:sldMkLst>
          <pc:docMk/>
          <pc:sldMk cId="1330402575" sldId="2147478975"/>
        </pc:sldMkLst>
      </pc:sldChg>
    </pc:docChg>
  </pc:docChgLst>
  <pc:docChgLst>
    <pc:chgData name="Davis, Christopher.F F (HEALTH)" userId="S::christopher.f.davis@health.ny.gov::457f31cb-5744-479c-a1e9-8099d36ea0f7" providerId="AD" clId="Web-{2C1FD7F8-2527-D47B-84C6-276AFD212EAF}"/>
    <pc:docChg chg="modSld">
      <pc:chgData name="Davis, Christopher.F F (HEALTH)" userId="S::christopher.f.davis@health.ny.gov::457f31cb-5744-479c-a1e9-8099d36ea0f7" providerId="AD" clId="Web-{2C1FD7F8-2527-D47B-84C6-276AFD212EAF}" dt="2025-08-21T13:51:36.186" v="6" actId="20577"/>
      <pc:docMkLst>
        <pc:docMk/>
      </pc:docMkLst>
      <pc:sldChg chg="modSp">
        <pc:chgData name="Davis, Christopher.F F (HEALTH)" userId="S::christopher.f.davis@health.ny.gov::457f31cb-5744-479c-a1e9-8099d36ea0f7" providerId="AD" clId="Web-{2C1FD7F8-2527-D47B-84C6-276AFD212EAF}" dt="2025-08-21T13:49:47.013" v="4" actId="20577"/>
        <pc:sldMkLst>
          <pc:docMk/>
          <pc:sldMk cId="2046467035" sldId="2145707487"/>
        </pc:sldMkLst>
      </pc:sldChg>
      <pc:sldChg chg="modSp">
        <pc:chgData name="Davis, Christopher.F F (HEALTH)" userId="S::christopher.f.davis@health.ny.gov::457f31cb-5744-479c-a1e9-8099d36ea0f7" providerId="AD" clId="Web-{2C1FD7F8-2527-D47B-84C6-276AFD212EAF}" dt="2025-08-21T13:51:36.186" v="6" actId="20577"/>
        <pc:sldMkLst>
          <pc:docMk/>
          <pc:sldMk cId="3457683040" sldId="2147478921"/>
        </pc:sldMkLst>
      </pc:sldChg>
      <pc:sldChg chg="modSp">
        <pc:chgData name="Davis, Christopher.F F (HEALTH)" userId="S::christopher.f.davis@health.ny.gov::457f31cb-5744-479c-a1e9-8099d36ea0f7" providerId="AD" clId="Web-{2C1FD7F8-2527-D47B-84C6-276AFD212EAF}" dt="2025-08-21T13:49:22.185" v="2" actId="20577"/>
        <pc:sldMkLst>
          <pc:docMk/>
          <pc:sldMk cId="1974203252" sldId="2147478923"/>
        </pc:sldMkLst>
      </pc:sldChg>
    </pc:docChg>
  </pc:docChgLst>
  <pc:docChgLst>
    <pc:chgData name="Alaali, Zahra S (HEALTH)" userId="S::zahra.alaali@health.ny.gov::e472fd58-aee6-4d6d-8f69-98bd7d3fdd87" providerId="AD" clId="Web-{369D1B3E-2ED7-D2BB-2E4E-E319039AFC69}"/>
    <pc:docChg chg="modSld">
      <pc:chgData name="Alaali, Zahra S (HEALTH)" userId="S::zahra.alaali@health.ny.gov::e472fd58-aee6-4d6d-8f69-98bd7d3fdd87" providerId="AD" clId="Web-{369D1B3E-2ED7-D2BB-2E4E-E319039AFC69}" dt="2025-08-22T13:38:19.599" v="12" actId="20577"/>
      <pc:docMkLst>
        <pc:docMk/>
      </pc:docMkLst>
      <pc:sldChg chg="modSp">
        <pc:chgData name="Alaali, Zahra S (HEALTH)" userId="S::zahra.alaali@health.ny.gov::e472fd58-aee6-4d6d-8f69-98bd7d3fdd87" providerId="AD" clId="Web-{369D1B3E-2ED7-D2BB-2E4E-E319039AFC69}" dt="2025-08-22T13:38:19.599" v="12" actId="20577"/>
        <pc:sldMkLst>
          <pc:docMk/>
          <pc:sldMk cId="382163973" sldId="2147478939"/>
        </pc:sldMkLst>
      </pc:sldChg>
    </pc:docChg>
  </pc:docChgLst>
  <pc:docChgLst>
    <pc:chgData name="Griffin-Braaf, Lacey (HEALTH)" userId="S::lacey.griffin-braaf@health.ny.gov::df379bf6-707f-49e4-b9ed-44ad47efc480" providerId="AD" clId="Web-{123B5BCB-3649-9026-31C6-84AFD1CCC92B}"/>
    <pc:docChg chg="delSld modSld sldOrd modSection">
      <pc:chgData name="Griffin-Braaf, Lacey (HEALTH)" userId="S::lacey.griffin-braaf@health.ny.gov::df379bf6-707f-49e4-b9ed-44ad47efc480" providerId="AD" clId="Web-{123B5BCB-3649-9026-31C6-84AFD1CCC92B}" dt="2025-08-22T13:28:54.919" v="512" actId="20577"/>
      <pc:docMkLst>
        <pc:docMk/>
      </pc:docMkLst>
      <pc:sldChg chg="modSp">
        <pc:chgData name="Griffin-Braaf, Lacey (HEALTH)" userId="S::lacey.griffin-braaf@health.ny.gov::df379bf6-707f-49e4-b9ed-44ad47efc480" providerId="AD" clId="Web-{123B5BCB-3649-9026-31C6-84AFD1CCC92B}" dt="2025-08-22T13:27:01.683" v="471" actId="20577"/>
        <pc:sldMkLst>
          <pc:docMk/>
          <pc:sldMk cId="2149442287" sldId="2147478971"/>
        </pc:sldMkLst>
      </pc:sldChg>
      <pc:sldChg chg="modSp ord">
        <pc:chgData name="Griffin-Braaf, Lacey (HEALTH)" userId="S::lacey.griffin-braaf@health.ny.gov::df379bf6-707f-49e4-b9ed-44ad47efc480" providerId="AD" clId="Web-{123B5BCB-3649-9026-31C6-84AFD1CCC92B}" dt="2025-08-22T13:25:56.399" v="464" actId="20577"/>
        <pc:sldMkLst>
          <pc:docMk/>
          <pc:sldMk cId="3826069859" sldId="2147478972"/>
        </pc:sldMkLst>
      </pc:sldChg>
      <pc:sldChg chg="modSp">
        <pc:chgData name="Griffin-Braaf, Lacey (HEALTH)" userId="S::lacey.griffin-braaf@health.ny.gov::df379bf6-707f-49e4-b9ed-44ad47efc480" providerId="AD" clId="Web-{123B5BCB-3649-9026-31C6-84AFD1CCC92B}" dt="2025-08-22T13:28:54.919" v="512" actId="20577"/>
        <pc:sldMkLst>
          <pc:docMk/>
          <pc:sldMk cId="3035930011" sldId="2147478973"/>
        </pc:sldMkLst>
      </pc:sldChg>
      <pc:sldChg chg="modSp">
        <pc:chgData name="Griffin-Braaf, Lacey (HEALTH)" userId="S::lacey.griffin-braaf@health.ny.gov::df379bf6-707f-49e4-b9ed-44ad47efc480" providerId="AD" clId="Web-{123B5BCB-3649-9026-31C6-84AFD1CCC92B}" dt="2025-08-22T13:20:27.454" v="305" actId="20577"/>
        <pc:sldMkLst>
          <pc:docMk/>
          <pc:sldMk cId="3781246726" sldId="2147478974"/>
        </pc:sldMkLst>
      </pc:sldChg>
      <pc:sldChg chg="del">
        <pc:chgData name="Griffin-Braaf, Lacey (HEALTH)" userId="S::lacey.griffin-braaf@health.ny.gov::df379bf6-707f-49e4-b9ed-44ad47efc480" providerId="AD" clId="Web-{123B5BCB-3649-9026-31C6-84AFD1CCC92B}" dt="2025-08-22T13:27:08.323" v="472"/>
        <pc:sldMkLst>
          <pc:docMk/>
          <pc:sldMk cId="957324992" sldId="2147478975"/>
        </pc:sldMkLst>
      </pc:sldChg>
    </pc:docChg>
  </pc:docChgLst>
  <pc:docChgLst>
    <pc:chgData name="Alaali, Zahra S (HEALTH)" userId="e472fd58-aee6-4d6d-8f69-98bd7d3fdd87" providerId="ADAL" clId="{320C0D7D-3CE8-4F96-833F-53AD3F58B1B8}"/>
    <pc:docChg chg="undo custSel addSld delSld modSld sldOrd addSection delSection modSection">
      <pc:chgData name="Alaali, Zahra S (HEALTH)" userId="e472fd58-aee6-4d6d-8f69-98bd7d3fdd87" providerId="ADAL" clId="{320C0D7D-3CE8-4F96-833F-53AD3F58B1B8}" dt="2025-08-22T15:32:58.220" v="659" actId="6549"/>
      <pc:docMkLst>
        <pc:docMk/>
      </pc:docMkLst>
      <pc:sldChg chg="modSp mod">
        <pc:chgData name="Alaali, Zahra S (HEALTH)" userId="e472fd58-aee6-4d6d-8f69-98bd7d3fdd87" providerId="ADAL" clId="{320C0D7D-3CE8-4F96-833F-53AD3F58B1B8}" dt="2025-08-21T13:50:54.764" v="276" actId="114"/>
        <pc:sldMkLst>
          <pc:docMk/>
          <pc:sldMk cId="1936778481" sldId="283"/>
        </pc:sldMkLst>
      </pc:sldChg>
      <pc:sldChg chg="add">
        <pc:chgData name="Alaali, Zahra S (HEALTH)" userId="e472fd58-aee6-4d6d-8f69-98bd7d3fdd87" providerId="ADAL" clId="{320C0D7D-3CE8-4F96-833F-53AD3F58B1B8}" dt="2025-08-21T13:57:14.797" v="277"/>
        <pc:sldMkLst>
          <pc:docMk/>
          <pc:sldMk cId="452458095" sldId="2145707453"/>
        </pc:sldMkLst>
      </pc:sldChg>
      <pc:sldChg chg="add modNotesTx">
        <pc:chgData name="Alaali, Zahra S (HEALTH)" userId="e472fd58-aee6-4d6d-8f69-98bd7d3fdd87" providerId="ADAL" clId="{320C0D7D-3CE8-4F96-833F-53AD3F58B1B8}" dt="2025-08-21T14:16:29.071" v="655" actId="20577"/>
        <pc:sldMkLst>
          <pc:docMk/>
          <pc:sldMk cId="3311236248" sldId="2145707461"/>
        </pc:sldMkLst>
      </pc:sldChg>
      <pc:sldChg chg="add modNotesTx">
        <pc:chgData name="Alaali, Zahra S (HEALTH)" userId="e472fd58-aee6-4d6d-8f69-98bd7d3fdd87" providerId="ADAL" clId="{320C0D7D-3CE8-4F96-833F-53AD3F58B1B8}" dt="2025-08-21T14:21:01.048" v="656" actId="6549"/>
        <pc:sldMkLst>
          <pc:docMk/>
          <pc:sldMk cId="3845476675" sldId="2145707486"/>
        </pc:sldMkLst>
      </pc:sldChg>
      <pc:sldChg chg="addSp delSp modSp add mod modClrScheme chgLayout">
        <pc:chgData name="Alaali, Zahra S (HEALTH)" userId="e472fd58-aee6-4d6d-8f69-98bd7d3fdd87" providerId="ADAL" clId="{320C0D7D-3CE8-4F96-833F-53AD3F58B1B8}" dt="2025-08-21T13:46:03.106" v="273" actId="113"/>
        <pc:sldMkLst>
          <pc:docMk/>
          <pc:sldMk cId="2046467035" sldId="2145707487"/>
        </pc:sldMkLst>
      </pc:sldChg>
      <pc:sldChg chg="add modNotesTx">
        <pc:chgData name="Alaali, Zahra S (HEALTH)" userId="e472fd58-aee6-4d6d-8f69-98bd7d3fdd87" providerId="ADAL" clId="{320C0D7D-3CE8-4F96-833F-53AD3F58B1B8}" dt="2025-08-21T14:02:57.030" v="281" actId="20577"/>
        <pc:sldMkLst>
          <pc:docMk/>
          <pc:sldMk cId="1138971942" sldId="2145707548"/>
        </pc:sldMkLst>
      </pc:sldChg>
      <pc:sldChg chg="del">
        <pc:chgData name="Alaali, Zahra S (HEALTH)" userId="e472fd58-aee6-4d6d-8f69-98bd7d3fdd87" providerId="ADAL" clId="{320C0D7D-3CE8-4F96-833F-53AD3F58B1B8}" dt="2025-08-21T13:14:24.078" v="1" actId="47"/>
        <pc:sldMkLst>
          <pc:docMk/>
          <pc:sldMk cId="2278006492" sldId="2147478918"/>
        </pc:sldMkLst>
      </pc:sldChg>
      <pc:sldChg chg="modSp mod">
        <pc:chgData name="Alaali, Zahra S (HEALTH)" userId="e472fd58-aee6-4d6d-8f69-98bd7d3fdd87" providerId="ADAL" clId="{320C0D7D-3CE8-4F96-833F-53AD3F58B1B8}" dt="2025-08-21T13:49:32.529" v="274" actId="20577"/>
        <pc:sldMkLst>
          <pc:docMk/>
          <pc:sldMk cId="2628666434" sldId="2147478919"/>
        </pc:sldMkLst>
      </pc:sldChg>
      <pc:sldChg chg="add">
        <pc:chgData name="Alaali, Zahra S (HEALTH)" userId="e472fd58-aee6-4d6d-8f69-98bd7d3fdd87" providerId="ADAL" clId="{320C0D7D-3CE8-4F96-833F-53AD3F58B1B8}" dt="2025-08-21T13:14:21.442" v="0"/>
        <pc:sldMkLst>
          <pc:docMk/>
          <pc:sldMk cId="3457683040" sldId="2147478921"/>
        </pc:sldMkLst>
      </pc:sldChg>
      <pc:sldChg chg="add">
        <pc:chgData name="Alaali, Zahra S (HEALTH)" userId="e472fd58-aee6-4d6d-8f69-98bd7d3fdd87" providerId="ADAL" clId="{320C0D7D-3CE8-4F96-833F-53AD3F58B1B8}" dt="2025-08-21T13:14:21.442" v="0"/>
        <pc:sldMkLst>
          <pc:docMk/>
          <pc:sldMk cId="309466398" sldId="2147478922"/>
        </pc:sldMkLst>
      </pc:sldChg>
      <pc:sldChg chg="add">
        <pc:chgData name="Alaali, Zahra S (HEALTH)" userId="e472fd58-aee6-4d6d-8f69-98bd7d3fdd87" providerId="ADAL" clId="{320C0D7D-3CE8-4F96-833F-53AD3F58B1B8}" dt="2025-08-21T13:14:21.442" v="0"/>
        <pc:sldMkLst>
          <pc:docMk/>
          <pc:sldMk cId="1974203252" sldId="2147478923"/>
        </pc:sldMkLst>
      </pc:sldChg>
      <pc:sldChg chg="modNotesTx">
        <pc:chgData name="Alaali, Zahra S (HEALTH)" userId="e472fd58-aee6-4d6d-8f69-98bd7d3fdd87" providerId="ADAL" clId="{320C0D7D-3CE8-4F96-833F-53AD3F58B1B8}" dt="2025-08-21T14:21:41.400" v="657" actId="20577"/>
        <pc:sldMkLst>
          <pc:docMk/>
          <pc:sldMk cId="3249159237" sldId="2147478953"/>
        </pc:sldMkLst>
      </pc:sldChg>
      <pc:sldChg chg="addSp delSp modSp mod ord modCm">
        <pc:chgData name="Alaali, Zahra S (HEALTH)" userId="e472fd58-aee6-4d6d-8f69-98bd7d3fdd87" providerId="ADAL" clId="{320C0D7D-3CE8-4F96-833F-53AD3F58B1B8}" dt="2025-08-21T13:39:32.697" v="204" actId="113"/>
        <pc:sldMkLst>
          <pc:docMk/>
          <pc:sldMk cId="593490138" sldId="21474789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aali, Zahra S (HEALTH)" userId="e472fd58-aee6-4d6d-8f69-98bd7d3fdd87" providerId="ADAL" clId="{320C0D7D-3CE8-4F96-833F-53AD3F58B1B8}" dt="2025-08-21T13:36:50.712" v="181" actId="6549"/>
              <pc2:cmMkLst xmlns:pc2="http://schemas.microsoft.com/office/powerpoint/2019/9/main/command">
                <pc:docMk/>
                <pc:sldMk cId="593490138" sldId="2147478968"/>
                <pc2:cmMk id="{10FA4C62-794E-4CC0-A7A9-5AA0D556C4C3}"/>
              </pc2:cmMkLst>
            </pc226:cmChg>
          </p:ext>
        </pc:extLst>
      </pc:sldChg>
      <pc:sldChg chg="add ord">
        <pc:chgData name="Alaali, Zahra S (HEALTH)" userId="e472fd58-aee6-4d6d-8f69-98bd7d3fdd87" providerId="ADAL" clId="{320C0D7D-3CE8-4F96-833F-53AD3F58B1B8}" dt="2025-08-21T13:15:29.599" v="11"/>
        <pc:sldMkLst>
          <pc:docMk/>
          <pc:sldMk cId="2698280640" sldId="2147478969"/>
        </pc:sldMkLst>
      </pc:sldChg>
      <pc:sldChg chg="addSp modSp mod">
        <pc:chgData name="Alaali, Zahra S (HEALTH)" userId="e472fd58-aee6-4d6d-8f69-98bd7d3fdd87" providerId="ADAL" clId="{320C0D7D-3CE8-4F96-833F-53AD3F58B1B8}" dt="2025-08-22T15:32:58.220" v="659" actId="6549"/>
        <pc:sldMkLst>
          <pc:docMk/>
          <pc:sldMk cId="2932418345" sldId="2147478970"/>
        </pc:sldMkLst>
      </pc:sldChg>
    </pc:docChg>
  </pc:docChgLst>
  <pc:docChgLst>
    <pc:chgData name="Alaali, Zahra S (HEALTH)" userId="S::zahra.alaali@health.ny.gov::e472fd58-aee6-4d6d-8f69-98bd7d3fdd87" providerId="AD" clId="Web-{202FD4B5-F2FA-4B1E-3AB9-0921A66F013A}"/>
    <pc:docChg chg="delSld modSld addSection delSection modSection">
      <pc:chgData name="Alaali, Zahra S (HEALTH)" userId="S::zahra.alaali@health.ny.gov::e472fd58-aee6-4d6d-8f69-98bd7d3fdd87" providerId="AD" clId="Web-{202FD4B5-F2FA-4B1E-3AB9-0921A66F013A}" dt="2025-08-27T13:36:45.553" v="29" actId="20577"/>
      <pc:docMkLst>
        <pc:docMk/>
      </pc:docMkLst>
      <pc:sldChg chg="modSp">
        <pc:chgData name="Alaali, Zahra S (HEALTH)" userId="S::zahra.alaali@health.ny.gov::e472fd58-aee6-4d6d-8f69-98bd7d3fdd87" providerId="AD" clId="Web-{202FD4B5-F2FA-4B1E-3AB9-0921A66F013A}" dt="2025-08-27T13:32:43.106" v="25" actId="20577"/>
        <pc:sldMkLst>
          <pc:docMk/>
          <pc:sldMk cId="3570335966" sldId="298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3.916" v="2"/>
        <pc:sldMkLst>
          <pc:docMk/>
          <pc:sldMk cId="248225251" sldId="2147478936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0.370" v="11"/>
        <pc:sldMkLst>
          <pc:docMk/>
          <pc:sldMk cId="2868978408" sldId="2147478937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5.433" v="16"/>
        <pc:sldMkLst>
          <pc:docMk/>
          <pc:sldMk cId="382163973" sldId="2147478939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3.057" v="14"/>
        <pc:sldMkLst>
          <pc:docMk/>
          <pc:sldMk cId="4229460332" sldId="2147478940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6.464" v="17"/>
        <pc:sldMkLst>
          <pc:docMk/>
          <pc:sldMk cId="640073736" sldId="2147478942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7.417" v="18"/>
        <pc:sldMkLst>
          <pc:docMk/>
          <pc:sldMk cId="1978870689" sldId="2147478943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9.323" v="10"/>
        <pc:sldMkLst>
          <pc:docMk/>
          <pc:sldMk cId="2348542923" sldId="2147478945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1.823" v="13"/>
        <pc:sldMkLst>
          <pc:docMk/>
          <pc:sldMk cId="2179821955" sldId="2147478946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1.089" v="12"/>
        <pc:sldMkLst>
          <pc:docMk/>
          <pc:sldMk cId="3836036894" sldId="2147478947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6.010" v="4"/>
        <pc:sldMkLst>
          <pc:docMk/>
          <pc:sldMk cId="2591901442" sldId="2147478948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6.510" v="5"/>
        <pc:sldMkLst>
          <pc:docMk/>
          <pc:sldMk cId="4031922811" sldId="2147478949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7.479" v="7"/>
        <pc:sldMkLst>
          <pc:docMk/>
          <pc:sldMk cId="2292756218" sldId="2147478950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8.260" v="8"/>
        <pc:sldMkLst>
          <pc:docMk/>
          <pc:sldMk cId="882916885" sldId="2147478951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5.057" v="3"/>
        <pc:sldMkLst>
          <pc:docMk/>
          <pc:sldMk cId="3249159237" sldId="2147478953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7.463" v="6"/>
        <pc:sldMkLst>
          <pc:docMk/>
          <pc:sldMk cId="782240427" sldId="2147478965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48.823" v="9"/>
        <pc:sldMkLst>
          <pc:docMk/>
          <pc:sldMk cId="896048336" sldId="2147478966"/>
        </pc:sldMkLst>
      </pc:sldChg>
      <pc:sldChg chg="del">
        <pc:chgData name="Alaali, Zahra S (HEALTH)" userId="S::zahra.alaali@health.ny.gov::e472fd58-aee6-4d6d-8f69-98bd7d3fdd87" providerId="AD" clId="Web-{202FD4B5-F2FA-4B1E-3AB9-0921A66F013A}" dt="2025-08-27T13:31:53.870" v="15"/>
        <pc:sldMkLst>
          <pc:docMk/>
          <pc:sldMk cId="2160729989" sldId="2147478967"/>
        </pc:sldMkLst>
      </pc:sldChg>
      <pc:sldChg chg="modSp">
        <pc:chgData name="Alaali, Zahra S (HEALTH)" userId="S::zahra.alaali@health.ny.gov::e472fd58-aee6-4d6d-8f69-98bd7d3fdd87" providerId="AD" clId="Web-{202FD4B5-F2FA-4B1E-3AB9-0921A66F013A}" dt="2025-08-27T13:36:45.553" v="29" actId="20577"/>
        <pc:sldMkLst>
          <pc:docMk/>
          <pc:sldMk cId="1330402575" sldId="2147478975"/>
        </pc:sldMkLst>
      </pc:sldChg>
    </pc:docChg>
  </pc:docChgLst>
  <pc:docChgLst>
    <pc:chgData name="Alaali, Zahra S (HEALTH)" userId="S::zahra.alaali@health.ny.gov::e472fd58-aee6-4d6d-8f69-98bd7d3fdd87" providerId="AD" clId="Web-{45FF0FA7-1366-1610-46D7-596CD2DFE074}"/>
    <pc:docChg chg="modSld">
      <pc:chgData name="Alaali, Zahra S (HEALTH)" userId="S::zahra.alaali@health.ny.gov::e472fd58-aee6-4d6d-8f69-98bd7d3fdd87" providerId="AD" clId="Web-{45FF0FA7-1366-1610-46D7-596CD2DFE074}" dt="2025-08-21T16:27:57.721" v="0" actId="14100"/>
      <pc:docMkLst>
        <pc:docMk/>
      </pc:docMkLst>
      <pc:sldChg chg="modSp">
        <pc:chgData name="Alaali, Zahra S (HEALTH)" userId="S::zahra.alaali@health.ny.gov::e472fd58-aee6-4d6d-8f69-98bd7d3fdd87" providerId="AD" clId="Web-{45FF0FA7-1366-1610-46D7-596CD2DFE074}" dt="2025-08-21T16:27:57.721" v="0" actId="14100"/>
        <pc:sldMkLst>
          <pc:docMk/>
          <pc:sldMk cId="593490138" sldId="2147478968"/>
        </pc:sldMkLst>
      </pc:sldChg>
    </pc:docChg>
  </pc:docChgLst>
  <pc:docChgLst>
    <pc:chgData name="Alaali, Zahra S (HEALTH)" userId="e472fd58-aee6-4d6d-8f69-98bd7d3fdd87" providerId="ADAL" clId="{37498061-E5EA-4606-ABA3-AD03C0EA0471}"/>
    <pc:docChg chg="undo custSel modSld sldOrd">
      <pc:chgData name="Alaali, Zahra S (HEALTH)" userId="e472fd58-aee6-4d6d-8f69-98bd7d3fdd87" providerId="ADAL" clId="{37498061-E5EA-4606-ABA3-AD03C0EA0471}" dt="2025-08-27T13:29:43.688" v="93" actId="20577"/>
      <pc:docMkLst>
        <pc:docMk/>
      </pc:docMkLst>
      <pc:sldChg chg="addSp delSp modSp mod ord">
        <pc:chgData name="Alaali, Zahra S (HEALTH)" userId="e472fd58-aee6-4d6d-8f69-98bd7d3fdd87" providerId="ADAL" clId="{37498061-E5EA-4606-ABA3-AD03C0EA0471}" dt="2025-08-27T13:20:05.073" v="84" actId="1076"/>
        <pc:sldMkLst>
          <pc:docMk/>
          <pc:sldMk cId="2628666434" sldId="2147478919"/>
        </pc:sldMkLst>
      </pc:sldChg>
      <pc:sldChg chg="modSp mod">
        <pc:chgData name="Alaali, Zahra S (HEALTH)" userId="e472fd58-aee6-4d6d-8f69-98bd7d3fdd87" providerId="ADAL" clId="{37498061-E5EA-4606-ABA3-AD03C0EA0471}" dt="2025-08-27T13:29:43.688" v="93" actId="20577"/>
        <pc:sldMkLst>
          <pc:docMk/>
          <pc:sldMk cId="248225251" sldId="2147478936"/>
        </pc:sldMkLst>
      </pc:sldChg>
      <pc:sldChg chg="addSp modSp mod">
        <pc:chgData name="Alaali, Zahra S (HEALTH)" userId="e472fd58-aee6-4d6d-8f69-98bd7d3fdd87" providerId="ADAL" clId="{37498061-E5EA-4606-ABA3-AD03C0EA0471}" dt="2025-08-27T13:20:41.586" v="90" actId="208"/>
        <pc:sldMkLst>
          <pc:docMk/>
          <pc:sldMk cId="1330402575" sldId="2147478975"/>
        </pc:sldMkLst>
      </pc:sldChg>
    </pc:docChg>
  </pc:docChgLst>
  <pc:docChgLst>
    <pc:chgData name="Waldenmaier, Mark (HEALTH)" userId="S::mark.waldenmaier@health.ny.gov::3890a5ce-a2b4-4a21-8966-214efee933d6" providerId="AD" clId="Web-{FB98938B-D6A3-B4EC-3542-639D6DE664CD}"/>
    <pc:docChg chg="modSld sldOrd">
      <pc:chgData name="Waldenmaier, Mark (HEALTH)" userId="S::mark.waldenmaier@health.ny.gov::3890a5ce-a2b4-4a21-8966-214efee933d6" providerId="AD" clId="Web-{FB98938B-D6A3-B4EC-3542-639D6DE664CD}" dt="2025-08-25T12:07:25.675" v="6"/>
      <pc:docMkLst>
        <pc:docMk/>
      </pc:docMkLst>
      <pc:sldChg chg="ord">
        <pc:chgData name="Waldenmaier, Mark (HEALTH)" userId="S::mark.waldenmaier@health.ny.gov::3890a5ce-a2b4-4a21-8966-214efee933d6" providerId="AD" clId="Web-{FB98938B-D6A3-B4EC-3542-639D6DE664CD}" dt="2025-08-25T11:56:52.033" v="0"/>
        <pc:sldMkLst>
          <pc:docMk/>
          <pc:sldMk cId="3845476675" sldId="2145707486"/>
        </pc:sldMkLst>
      </pc:sldChg>
      <pc:sldChg chg="delSp modSp">
        <pc:chgData name="Waldenmaier, Mark (HEALTH)" userId="S::mark.waldenmaier@health.ny.gov::3890a5ce-a2b4-4a21-8966-214efee933d6" providerId="AD" clId="Web-{FB98938B-D6A3-B4EC-3542-639D6DE664CD}" dt="2025-08-25T12:07:25.675" v="6"/>
        <pc:sldMkLst>
          <pc:docMk/>
          <pc:sldMk cId="2932418345" sldId="2147478970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E4387E-BF4B-48F7-811B-18D18BBC8BD8}" type="doc">
      <dgm:prSet loTypeId="urn:microsoft.com/office/officeart/2005/8/layout/bProcess4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8EDD80E-3017-442F-8B16-20C52BC69AF2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Collecting and analyzing </a:t>
          </a:r>
          <a:r>
            <a:rPr lang="en-US" b="1" dirty="0"/>
            <a:t>data</a:t>
          </a:r>
          <a:endParaRPr lang="en-US" dirty="0"/>
        </a:p>
      </dgm:t>
    </dgm:pt>
    <dgm:pt modelId="{2FBC55BC-D1AD-4C21-8DC7-783C9D9A8181}" type="parTrans" cxnId="{1C9309A8-55F1-4D77-8406-2A72DC46DF35}">
      <dgm:prSet/>
      <dgm:spPr/>
      <dgm:t>
        <a:bodyPr/>
        <a:lstStyle/>
        <a:p>
          <a:endParaRPr lang="en-US"/>
        </a:p>
      </dgm:t>
    </dgm:pt>
    <dgm:pt modelId="{7480B4D2-9D4E-4A2B-A83B-EE679E394407}" type="sibTrans" cxnId="{1C9309A8-55F1-4D77-8406-2A72DC46DF35}">
      <dgm:prSet/>
      <dgm:spPr/>
      <dgm:t>
        <a:bodyPr/>
        <a:lstStyle/>
        <a:p>
          <a:endParaRPr lang="en-US"/>
        </a:p>
      </dgm:t>
    </dgm:pt>
    <dgm:pt modelId="{ED2FBF95-2F01-4AE8-81F7-7FEEEF5F3B09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Identifying and describing </a:t>
          </a:r>
          <a:r>
            <a:rPr lang="en-US" b="1" dirty="0"/>
            <a:t>key issues</a:t>
          </a:r>
          <a:endParaRPr lang="en-US" dirty="0"/>
        </a:p>
      </dgm:t>
    </dgm:pt>
    <dgm:pt modelId="{92062E46-0EB5-4CEA-96DD-745D17412CC4}" type="parTrans" cxnId="{5145E327-7720-4D6E-B0E4-7F30B0A74B2A}">
      <dgm:prSet/>
      <dgm:spPr/>
      <dgm:t>
        <a:bodyPr/>
        <a:lstStyle/>
        <a:p>
          <a:endParaRPr lang="en-US"/>
        </a:p>
      </dgm:t>
    </dgm:pt>
    <dgm:pt modelId="{C4DDC825-D5BB-4328-8ED9-B7B12815049A}" type="sibTrans" cxnId="{5145E327-7720-4D6E-B0E4-7F30B0A74B2A}">
      <dgm:prSet/>
      <dgm:spPr/>
      <dgm:t>
        <a:bodyPr/>
        <a:lstStyle/>
        <a:p>
          <a:endParaRPr lang="en-US"/>
        </a:p>
      </dgm:t>
    </dgm:pt>
    <dgm:pt modelId="{24718902-A881-4B3D-8B0D-A240A9685187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Setting </a:t>
          </a:r>
          <a:r>
            <a:rPr lang="en-US" b="1" dirty="0"/>
            <a:t>priorities</a:t>
          </a:r>
          <a:r>
            <a:rPr lang="en-US" dirty="0"/>
            <a:t> and collecting </a:t>
          </a:r>
          <a:r>
            <a:rPr lang="en-US" b="1" dirty="0"/>
            <a:t>partner feedback</a:t>
          </a:r>
          <a:endParaRPr lang="en-US" dirty="0"/>
        </a:p>
      </dgm:t>
    </dgm:pt>
    <dgm:pt modelId="{9E34A400-0818-4075-B558-20C11B770079}" type="parTrans" cxnId="{D20B1444-5D2B-4194-AAF5-AB2A6B9EF8BC}">
      <dgm:prSet/>
      <dgm:spPr/>
      <dgm:t>
        <a:bodyPr/>
        <a:lstStyle/>
        <a:p>
          <a:endParaRPr lang="en-US"/>
        </a:p>
      </dgm:t>
    </dgm:pt>
    <dgm:pt modelId="{823462FE-892F-4894-AC28-18677E455966}" type="sibTrans" cxnId="{D20B1444-5D2B-4194-AAF5-AB2A6B9EF8BC}">
      <dgm:prSet/>
      <dgm:spPr/>
      <dgm:t>
        <a:bodyPr/>
        <a:lstStyle/>
        <a:p>
          <a:endParaRPr lang="en-US"/>
        </a:p>
      </dgm:t>
    </dgm:pt>
    <dgm:pt modelId="{47311906-EEDC-4B2F-98B4-0FC9AE4B24C8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Selecting </a:t>
          </a:r>
          <a:r>
            <a:rPr lang="en-US" b="1" dirty="0"/>
            <a:t>core indicators</a:t>
          </a:r>
          <a:r>
            <a:rPr lang="en-US" dirty="0"/>
            <a:t> that represent the </a:t>
          </a:r>
          <a:r>
            <a:rPr lang="en-US" b="1" dirty="0"/>
            <a:t>selected priorities</a:t>
          </a:r>
          <a:endParaRPr lang="en-US" dirty="0"/>
        </a:p>
      </dgm:t>
    </dgm:pt>
    <dgm:pt modelId="{1BF40F01-4FD8-47ED-AE72-7FC13583F753}" type="parTrans" cxnId="{7CE38446-66CC-4981-B9EE-9E72857E4801}">
      <dgm:prSet/>
      <dgm:spPr/>
      <dgm:t>
        <a:bodyPr/>
        <a:lstStyle/>
        <a:p>
          <a:endParaRPr lang="en-US"/>
        </a:p>
      </dgm:t>
    </dgm:pt>
    <dgm:pt modelId="{C9B117D4-6406-4E64-9C90-66151624F320}" type="sibTrans" cxnId="{7CE38446-66CC-4981-B9EE-9E72857E4801}">
      <dgm:prSet/>
      <dgm:spPr/>
      <dgm:t>
        <a:bodyPr/>
        <a:lstStyle/>
        <a:p>
          <a:endParaRPr lang="en-US"/>
        </a:p>
      </dgm:t>
    </dgm:pt>
    <dgm:pt modelId="{5ADC64F4-47FA-403F-B55A-82D1F5D8D06C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b="1" dirty="0"/>
            <a:t>Documenting findings</a:t>
          </a:r>
          <a:r>
            <a:rPr lang="en-US" dirty="0"/>
            <a:t> in collaboration with contributors</a:t>
          </a:r>
        </a:p>
      </dgm:t>
    </dgm:pt>
    <dgm:pt modelId="{446AD829-736E-429E-8695-0FB44FCB65E8}" type="parTrans" cxnId="{22D19CCA-FB12-4E83-8D3C-A933BABC9983}">
      <dgm:prSet/>
      <dgm:spPr/>
      <dgm:t>
        <a:bodyPr/>
        <a:lstStyle/>
        <a:p>
          <a:endParaRPr lang="en-US"/>
        </a:p>
      </dgm:t>
    </dgm:pt>
    <dgm:pt modelId="{F5C0CF98-04A2-4168-BA66-9BBA363E6ED3}" type="sibTrans" cxnId="{22D19CCA-FB12-4E83-8D3C-A933BABC9983}">
      <dgm:prSet/>
      <dgm:spPr/>
      <dgm:t>
        <a:bodyPr/>
        <a:lstStyle/>
        <a:p>
          <a:endParaRPr lang="en-US"/>
        </a:p>
      </dgm:t>
    </dgm:pt>
    <dgm:pt modelId="{6BE4A887-2DE2-457D-99F5-841C4020C03A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US" b="1" dirty="0"/>
            <a:t>Sharing</a:t>
          </a:r>
          <a:r>
            <a:rPr lang="en-US" dirty="0"/>
            <a:t> the State Health Assessment report with the public</a:t>
          </a:r>
        </a:p>
      </dgm:t>
    </dgm:pt>
    <dgm:pt modelId="{BB30D16B-FC3E-457E-BB3A-18EC0DADC15A}" type="parTrans" cxnId="{E7F127E0-CF1C-43C0-A3CC-D73D12AC2E5B}">
      <dgm:prSet/>
      <dgm:spPr/>
      <dgm:t>
        <a:bodyPr/>
        <a:lstStyle/>
        <a:p>
          <a:endParaRPr lang="en-US"/>
        </a:p>
      </dgm:t>
    </dgm:pt>
    <dgm:pt modelId="{1C0441EE-DD0E-46A3-B426-8EEDFA7C8267}" type="sibTrans" cxnId="{E7F127E0-CF1C-43C0-A3CC-D73D12AC2E5B}">
      <dgm:prSet/>
      <dgm:spPr/>
      <dgm:t>
        <a:bodyPr/>
        <a:lstStyle/>
        <a:p>
          <a:endParaRPr lang="en-US"/>
        </a:p>
      </dgm:t>
    </dgm:pt>
    <dgm:pt modelId="{03079328-9151-4C0E-9A56-E7AAD33F55DD}" type="pres">
      <dgm:prSet presAssocID="{D4E4387E-BF4B-48F7-811B-18D18BBC8BD8}" presName="Name0" presStyleCnt="0">
        <dgm:presLayoutVars>
          <dgm:dir/>
          <dgm:resizeHandles/>
        </dgm:presLayoutVars>
      </dgm:prSet>
      <dgm:spPr/>
    </dgm:pt>
    <dgm:pt modelId="{5066A6AB-4777-44DA-BA78-03E1718696D9}" type="pres">
      <dgm:prSet presAssocID="{18EDD80E-3017-442F-8B16-20C52BC69AF2}" presName="compNode" presStyleCnt="0"/>
      <dgm:spPr/>
    </dgm:pt>
    <dgm:pt modelId="{B5293FB5-9B53-4DDB-A352-433B0FCBA4D6}" type="pres">
      <dgm:prSet presAssocID="{18EDD80E-3017-442F-8B16-20C52BC69AF2}" presName="dummyConnPt" presStyleCnt="0"/>
      <dgm:spPr/>
    </dgm:pt>
    <dgm:pt modelId="{B6AE8C4A-F3D5-405E-ACCB-22CFEFEF8F2E}" type="pres">
      <dgm:prSet presAssocID="{18EDD80E-3017-442F-8B16-20C52BC69AF2}" presName="node" presStyleLbl="node1" presStyleIdx="0" presStyleCnt="6">
        <dgm:presLayoutVars>
          <dgm:bulletEnabled val="1"/>
        </dgm:presLayoutVars>
      </dgm:prSet>
      <dgm:spPr/>
    </dgm:pt>
    <dgm:pt modelId="{C76A380C-6030-44D7-90C7-8B312F52B5E1}" type="pres">
      <dgm:prSet presAssocID="{7480B4D2-9D4E-4A2B-A83B-EE679E394407}" presName="sibTrans" presStyleLbl="bgSibTrans2D1" presStyleIdx="0" presStyleCnt="5"/>
      <dgm:spPr/>
    </dgm:pt>
    <dgm:pt modelId="{F8933ADE-A4A9-4295-A9E6-50C98100896A}" type="pres">
      <dgm:prSet presAssocID="{ED2FBF95-2F01-4AE8-81F7-7FEEEF5F3B09}" presName="compNode" presStyleCnt="0"/>
      <dgm:spPr/>
    </dgm:pt>
    <dgm:pt modelId="{FD2889C9-3A08-42B5-8B84-D904157F6253}" type="pres">
      <dgm:prSet presAssocID="{ED2FBF95-2F01-4AE8-81F7-7FEEEF5F3B09}" presName="dummyConnPt" presStyleCnt="0"/>
      <dgm:spPr/>
    </dgm:pt>
    <dgm:pt modelId="{D4D84CA1-3138-4EAD-BF77-B8BC8A4EE717}" type="pres">
      <dgm:prSet presAssocID="{ED2FBF95-2F01-4AE8-81F7-7FEEEF5F3B09}" presName="node" presStyleLbl="node1" presStyleIdx="1" presStyleCnt="6">
        <dgm:presLayoutVars>
          <dgm:bulletEnabled val="1"/>
        </dgm:presLayoutVars>
      </dgm:prSet>
      <dgm:spPr/>
    </dgm:pt>
    <dgm:pt modelId="{F3BE8761-65ED-42F0-A68D-28CAE8732B46}" type="pres">
      <dgm:prSet presAssocID="{C4DDC825-D5BB-4328-8ED9-B7B12815049A}" presName="sibTrans" presStyleLbl="bgSibTrans2D1" presStyleIdx="1" presStyleCnt="5"/>
      <dgm:spPr/>
    </dgm:pt>
    <dgm:pt modelId="{BC746100-F5EF-44C4-BD8F-92BB3F1F64C9}" type="pres">
      <dgm:prSet presAssocID="{24718902-A881-4B3D-8B0D-A240A9685187}" presName="compNode" presStyleCnt="0"/>
      <dgm:spPr/>
    </dgm:pt>
    <dgm:pt modelId="{C70B8208-1E24-4CEC-B600-AAB9B7054729}" type="pres">
      <dgm:prSet presAssocID="{24718902-A881-4B3D-8B0D-A240A9685187}" presName="dummyConnPt" presStyleCnt="0"/>
      <dgm:spPr/>
    </dgm:pt>
    <dgm:pt modelId="{D2DB22A1-BC44-4B3A-A0BD-51E5A1FDDE3B}" type="pres">
      <dgm:prSet presAssocID="{24718902-A881-4B3D-8B0D-A240A9685187}" presName="node" presStyleLbl="node1" presStyleIdx="2" presStyleCnt="6">
        <dgm:presLayoutVars>
          <dgm:bulletEnabled val="1"/>
        </dgm:presLayoutVars>
      </dgm:prSet>
      <dgm:spPr/>
    </dgm:pt>
    <dgm:pt modelId="{12886768-0617-4349-AF9B-98F1199A3A41}" type="pres">
      <dgm:prSet presAssocID="{823462FE-892F-4894-AC28-18677E455966}" presName="sibTrans" presStyleLbl="bgSibTrans2D1" presStyleIdx="2" presStyleCnt="5"/>
      <dgm:spPr/>
    </dgm:pt>
    <dgm:pt modelId="{2595A4E7-4FD6-4C36-82C9-2F6D260E6AB6}" type="pres">
      <dgm:prSet presAssocID="{47311906-EEDC-4B2F-98B4-0FC9AE4B24C8}" presName="compNode" presStyleCnt="0"/>
      <dgm:spPr/>
    </dgm:pt>
    <dgm:pt modelId="{5B0F2C81-1195-4682-B865-DCAB2094C174}" type="pres">
      <dgm:prSet presAssocID="{47311906-EEDC-4B2F-98B4-0FC9AE4B24C8}" presName="dummyConnPt" presStyleCnt="0"/>
      <dgm:spPr/>
    </dgm:pt>
    <dgm:pt modelId="{41DE4277-D8C1-43ED-8C28-0A01E34A390E}" type="pres">
      <dgm:prSet presAssocID="{47311906-EEDC-4B2F-98B4-0FC9AE4B24C8}" presName="node" presStyleLbl="node1" presStyleIdx="3" presStyleCnt="6">
        <dgm:presLayoutVars>
          <dgm:bulletEnabled val="1"/>
        </dgm:presLayoutVars>
      </dgm:prSet>
      <dgm:spPr/>
    </dgm:pt>
    <dgm:pt modelId="{FC8F83C2-9B4E-4300-B031-303F48526180}" type="pres">
      <dgm:prSet presAssocID="{C9B117D4-6406-4E64-9C90-66151624F320}" presName="sibTrans" presStyleLbl="bgSibTrans2D1" presStyleIdx="3" presStyleCnt="5"/>
      <dgm:spPr/>
    </dgm:pt>
    <dgm:pt modelId="{70ECC139-EB26-43FA-B609-E62E0A918BE7}" type="pres">
      <dgm:prSet presAssocID="{5ADC64F4-47FA-403F-B55A-82D1F5D8D06C}" presName="compNode" presStyleCnt="0"/>
      <dgm:spPr/>
    </dgm:pt>
    <dgm:pt modelId="{A6AC8699-C450-47FB-8E99-BACE88819B3A}" type="pres">
      <dgm:prSet presAssocID="{5ADC64F4-47FA-403F-B55A-82D1F5D8D06C}" presName="dummyConnPt" presStyleCnt="0"/>
      <dgm:spPr/>
    </dgm:pt>
    <dgm:pt modelId="{80C92BDA-C358-49FE-BC55-89DA9034131B}" type="pres">
      <dgm:prSet presAssocID="{5ADC64F4-47FA-403F-B55A-82D1F5D8D06C}" presName="node" presStyleLbl="node1" presStyleIdx="4" presStyleCnt="6">
        <dgm:presLayoutVars>
          <dgm:bulletEnabled val="1"/>
        </dgm:presLayoutVars>
      </dgm:prSet>
      <dgm:spPr/>
    </dgm:pt>
    <dgm:pt modelId="{F13C49E6-911B-4FF6-BEC2-E81D9CB4E76F}" type="pres">
      <dgm:prSet presAssocID="{F5C0CF98-04A2-4168-BA66-9BBA363E6ED3}" presName="sibTrans" presStyleLbl="bgSibTrans2D1" presStyleIdx="4" presStyleCnt="5"/>
      <dgm:spPr/>
    </dgm:pt>
    <dgm:pt modelId="{84DB29CF-9BD9-4408-8122-93F5A25DEA32}" type="pres">
      <dgm:prSet presAssocID="{6BE4A887-2DE2-457D-99F5-841C4020C03A}" presName="compNode" presStyleCnt="0"/>
      <dgm:spPr/>
    </dgm:pt>
    <dgm:pt modelId="{F707B356-329D-4BCF-B949-E8E93F700A66}" type="pres">
      <dgm:prSet presAssocID="{6BE4A887-2DE2-457D-99F5-841C4020C03A}" presName="dummyConnPt" presStyleCnt="0"/>
      <dgm:spPr/>
    </dgm:pt>
    <dgm:pt modelId="{FD983325-6C98-4E5C-9430-3F64C707E053}" type="pres">
      <dgm:prSet presAssocID="{6BE4A887-2DE2-457D-99F5-841C4020C03A}" presName="node" presStyleLbl="node1" presStyleIdx="5" presStyleCnt="6">
        <dgm:presLayoutVars>
          <dgm:bulletEnabled val="1"/>
        </dgm:presLayoutVars>
      </dgm:prSet>
      <dgm:spPr/>
    </dgm:pt>
  </dgm:ptLst>
  <dgm:cxnLst>
    <dgm:cxn modelId="{CAE55224-42BA-4D13-A366-2744BAB6D23B}" type="presOf" srcId="{F5C0CF98-04A2-4168-BA66-9BBA363E6ED3}" destId="{F13C49E6-911B-4FF6-BEC2-E81D9CB4E76F}" srcOrd="0" destOrd="0" presId="urn:microsoft.com/office/officeart/2005/8/layout/bProcess4"/>
    <dgm:cxn modelId="{5145E327-7720-4D6E-B0E4-7F30B0A74B2A}" srcId="{D4E4387E-BF4B-48F7-811B-18D18BBC8BD8}" destId="{ED2FBF95-2F01-4AE8-81F7-7FEEEF5F3B09}" srcOrd="1" destOrd="0" parTransId="{92062E46-0EB5-4CEA-96DD-745D17412CC4}" sibTransId="{C4DDC825-D5BB-4328-8ED9-B7B12815049A}"/>
    <dgm:cxn modelId="{3E7A2D29-B562-4FFE-B2C8-BFCBCE711331}" type="presOf" srcId="{47311906-EEDC-4B2F-98B4-0FC9AE4B24C8}" destId="{41DE4277-D8C1-43ED-8C28-0A01E34A390E}" srcOrd="0" destOrd="0" presId="urn:microsoft.com/office/officeart/2005/8/layout/bProcess4"/>
    <dgm:cxn modelId="{0B25873B-B757-434F-8860-106BC7645AF0}" type="presOf" srcId="{ED2FBF95-2F01-4AE8-81F7-7FEEEF5F3B09}" destId="{D4D84CA1-3138-4EAD-BF77-B8BC8A4EE717}" srcOrd="0" destOrd="0" presId="urn:microsoft.com/office/officeart/2005/8/layout/bProcess4"/>
    <dgm:cxn modelId="{46B79D5B-C9EE-4AE1-BE18-E9E8C4047F1D}" type="presOf" srcId="{7480B4D2-9D4E-4A2B-A83B-EE679E394407}" destId="{C76A380C-6030-44D7-90C7-8B312F52B5E1}" srcOrd="0" destOrd="0" presId="urn:microsoft.com/office/officeart/2005/8/layout/bProcess4"/>
    <dgm:cxn modelId="{D20B1444-5D2B-4194-AAF5-AB2A6B9EF8BC}" srcId="{D4E4387E-BF4B-48F7-811B-18D18BBC8BD8}" destId="{24718902-A881-4B3D-8B0D-A240A9685187}" srcOrd="2" destOrd="0" parTransId="{9E34A400-0818-4075-B558-20C11B770079}" sibTransId="{823462FE-892F-4894-AC28-18677E455966}"/>
    <dgm:cxn modelId="{7CE38446-66CC-4981-B9EE-9E72857E4801}" srcId="{D4E4387E-BF4B-48F7-811B-18D18BBC8BD8}" destId="{47311906-EEDC-4B2F-98B4-0FC9AE4B24C8}" srcOrd="3" destOrd="0" parTransId="{1BF40F01-4FD8-47ED-AE72-7FC13583F753}" sibTransId="{C9B117D4-6406-4E64-9C90-66151624F320}"/>
    <dgm:cxn modelId="{DD89486E-E321-4EFB-9476-DC8D9ACD7247}" type="presOf" srcId="{18EDD80E-3017-442F-8B16-20C52BC69AF2}" destId="{B6AE8C4A-F3D5-405E-ACCB-22CFEFEF8F2E}" srcOrd="0" destOrd="0" presId="urn:microsoft.com/office/officeart/2005/8/layout/bProcess4"/>
    <dgm:cxn modelId="{E3FA9C4F-2A5F-436B-BF95-85E6547A3FD9}" type="presOf" srcId="{D4E4387E-BF4B-48F7-811B-18D18BBC8BD8}" destId="{03079328-9151-4C0E-9A56-E7AAD33F55DD}" srcOrd="0" destOrd="0" presId="urn:microsoft.com/office/officeart/2005/8/layout/bProcess4"/>
    <dgm:cxn modelId="{100FDAA6-A97C-43DB-A452-A8D1BCE9A327}" type="presOf" srcId="{5ADC64F4-47FA-403F-B55A-82D1F5D8D06C}" destId="{80C92BDA-C358-49FE-BC55-89DA9034131B}" srcOrd="0" destOrd="0" presId="urn:microsoft.com/office/officeart/2005/8/layout/bProcess4"/>
    <dgm:cxn modelId="{1C9309A8-55F1-4D77-8406-2A72DC46DF35}" srcId="{D4E4387E-BF4B-48F7-811B-18D18BBC8BD8}" destId="{18EDD80E-3017-442F-8B16-20C52BC69AF2}" srcOrd="0" destOrd="0" parTransId="{2FBC55BC-D1AD-4C21-8DC7-783C9D9A8181}" sibTransId="{7480B4D2-9D4E-4A2B-A83B-EE679E394407}"/>
    <dgm:cxn modelId="{30E91EA9-7662-4140-984D-3C31B5000ED3}" type="presOf" srcId="{C4DDC825-D5BB-4328-8ED9-B7B12815049A}" destId="{F3BE8761-65ED-42F0-A68D-28CAE8732B46}" srcOrd="0" destOrd="0" presId="urn:microsoft.com/office/officeart/2005/8/layout/bProcess4"/>
    <dgm:cxn modelId="{712E82B4-22BC-47D7-A546-83A57B67D6E1}" type="presOf" srcId="{24718902-A881-4B3D-8B0D-A240A9685187}" destId="{D2DB22A1-BC44-4B3A-A0BD-51E5A1FDDE3B}" srcOrd="0" destOrd="0" presId="urn:microsoft.com/office/officeart/2005/8/layout/bProcess4"/>
    <dgm:cxn modelId="{22D19CCA-FB12-4E83-8D3C-A933BABC9983}" srcId="{D4E4387E-BF4B-48F7-811B-18D18BBC8BD8}" destId="{5ADC64F4-47FA-403F-B55A-82D1F5D8D06C}" srcOrd="4" destOrd="0" parTransId="{446AD829-736E-429E-8695-0FB44FCB65E8}" sibTransId="{F5C0CF98-04A2-4168-BA66-9BBA363E6ED3}"/>
    <dgm:cxn modelId="{5DCA81D2-9DA4-43E6-89D5-159B939DAB59}" type="presOf" srcId="{823462FE-892F-4894-AC28-18677E455966}" destId="{12886768-0617-4349-AF9B-98F1199A3A41}" srcOrd="0" destOrd="0" presId="urn:microsoft.com/office/officeart/2005/8/layout/bProcess4"/>
    <dgm:cxn modelId="{9BCE43DF-D56F-4482-9069-0B7826C5BF3A}" type="presOf" srcId="{C9B117D4-6406-4E64-9C90-66151624F320}" destId="{FC8F83C2-9B4E-4300-B031-303F48526180}" srcOrd="0" destOrd="0" presId="urn:microsoft.com/office/officeart/2005/8/layout/bProcess4"/>
    <dgm:cxn modelId="{E7F127E0-CF1C-43C0-A3CC-D73D12AC2E5B}" srcId="{D4E4387E-BF4B-48F7-811B-18D18BBC8BD8}" destId="{6BE4A887-2DE2-457D-99F5-841C4020C03A}" srcOrd="5" destOrd="0" parTransId="{BB30D16B-FC3E-457E-BB3A-18EC0DADC15A}" sibTransId="{1C0441EE-DD0E-46A3-B426-8EEDFA7C8267}"/>
    <dgm:cxn modelId="{B2DDA7EF-930D-4D08-A429-3BFA4FC00FF4}" type="presOf" srcId="{6BE4A887-2DE2-457D-99F5-841C4020C03A}" destId="{FD983325-6C98-4E5C-9430-3F64C707E053}" srcOrd="0" destOrd="0" presId="urn:microsoft.com/office/officeart/2005/8/layout/bProcess4"/>
    <dgm:cxn modelId="{9B7EECA6-49FF-4826-B888-03E28A41D0C2}" type="presParOf" srcId="{03079328-9151-4C0E-9A56-E7AAD33F55DD}" destId="{5066A6AB-4777-44DA-BA78-03E1718696D9}" srcOrd="0" destOrd="0" presId="urn:microsoft.com/office/officeart/2005/8/layout/bProcess4"/>
    <dgm:cxn modelId="{0A108C98-9DBA-4A90-B9CA-0041FA8B39D3}" type="presParOf" srcId="{5066A6AB-4777-44DA-BA78-03E1718696D9}" destId="{B5293FB5-9B53-4DDB-A352-433B0FCBA4D6}" srcOrd="0" destOrd="0" presId="urn:microsoft.com/office/officeart/2005/8/layout/bProcess4"/>
    <dgm:cxn modelId="{C16D750A-858C-48FB-ADA9-AC3F5093F973}" type="presParOf" srcId="{5066A6AB-4777-44DA-BA78-03E1718696D9}" destId="{B6AE8C4A-F3D5-405E-ACCB-22CFEFEF8F2E}" srcOrd="1" destOrd="0" presId="urn:microsoft.com/office/officeart/2005/8/layout/bProcess4"/>
    <dgm:cxn modelId="{A0FD480E-7526-4E00-8735-2985F3FFF40D}" type="presParOf" srcId="{03079328-9151-4C0E-9A56-E7AAD33F55DD}" destId="{C76A380C-6030-44D7-90C7-8B312F52B5E1}" srcOrd="1" destOrd="0" presId="urn:microsoft.com/office/officeart/2005/8/layout/bProcess4"/>
    <dgm:cxn modelId="{E54A6D09-F90E-4721-B7C0-645F1F7C4AE9}" type="presParOf" srcId="{03079328-9151-4C0E-9A56-E7AAD33F55DD}" destId="{F8933ADE-A4A9-4295-A9E6-50C98100896A}" srcOrd="2" destOrd="0" presId="urn:microsoft.com/office/officeart/2005/8/layout/bProcess4"/>
    <dgm:cxn modelId="{CC200472-C3B3-4842-9F8B-149DF380A5F5}" type="presParOf" srcId="{F8933ADE-A4A9-4295-A9E6-50C98100896A}" destId="{FD2889C9-3A08-42B5-8B84-D904157F6253}" srcOrd="0" destOrd="0" presId="urn:microsoft.com/office/officeart/2005/8/layout/bProcess4"/>
    <dgm:cxn modelId="{40FB48E9-60E3-4680-B9A5-EC88A5CAC692}" type="presParOf" srcId="{F8933ADE-A4A9-4295-A9E6-50C98100896A}" destId="{D4D84CA1-3138-4EAD-BF77-B8BC8A4EE717}" srcOrd="1" destOrd="0" presId="urn:microsoft.com/office/officeart/2005/8/layout/bProcess4"/>
    <dgm:cxn modelId="{3E6CC8D0-96F0-49A4-9D29-84EDF9DF9BEC}" type="presParOf" srcId="{03079328-9151-4C0E-9A56-E7AAD33F55DD}" destId="{F3BE8761-65ED-42F0-A68D-28CAE8732B46}" srcOrd="3" destOrd="0" presId="urn:microsoft.com/office/officeart/2005/8/layout/bProcess4"/>
    <dgm:cxn modelId="{2EF325A0-2AC5-411C-84F8-32AF2494F654}" type="presParOf" srcId="{03079328-9151-4C0E-9A56-E7AAD33F55DD}" destId="{BC746100-F5EF-44C4-BD8F-92BB3F1F64C9}" srcOrd="4" destOrd="0" presId="urn:microsoft.com/office/officeart/2005/8/layout/bProcess4"/>
    <dgm:cxn modelId="{308CCCB0-FBFB-4250-8C0B-223497E50D9A}" type="presParOf" srcId="{BC746100-F5EF-44C4-BD8F-92BB3F1F64C9}" destId="{C70B8208-1E24-4CEC-B600-AAB9B7054729}" srcOrd="0" destOrd="0" presId="urn:microsoft.com/office/officeart/2005/8/layout/bProcess4"/>
    <dgm:cxn modelId="{5695E148-BCAD-4499-89FC-586720EA8428}" type="presParOf" srcId="{BC746100-F5EF-44C4-BD8F-92BB3F1F64C9}" destId="{D2DB22A1-BC44-4B3A-A0BD-51E5A1FDDE3B}" srcOrd="1" destOrd="0" presId="urn:microsoft.com/office/officeart/2005/8/layout/bProcess4"/>
    <dgm:cxn modelId="{E9936BF3-853B-4E2F-88D4-5CA84FD01819}" type="presParOf" srcId="{03079328-9151-4C0E-9A56-E7AAD33F55DD}" destId="{12886768-0617-4349-AF9B-98F1199A3A41}" srcOrd="5" destOrd="0" presId="urn:microsoft.com/office/officeart/2005/8/layout/bProcess4"/>
    <dgm:cxn modelId="{37C2738A-D435-4438-9714-CF4CA46B1DAE}" type="presParOf" srcId="{03079328-9151-4C0E-9A56-E7AAD33F55DD}" destId="{2595A4E7-4FD6-4C36-82C9-2F6D260E6AB6}" srcOrd="6" destOrd="0" presId="urn:microsoft.com/office/officeart/2005/8/layout/bProcess4"/>
    <dgm:cxn modelId="{E9AB7D63-9AEC-4336-A126-B980BEE8E453}" type="presParOf" srcId="{2595A4E7-4FD6-4C36-82C9-2F6D260E6AB6}" destId="{5B0F2C81-1195-4682-B865-DCAB2094C174}" srcOrd="0" destOrd="0" presId="urn:microsoft.com/office/officeart/2005/8/layout/bProcess4"/>
    <dgm:cxn modelId="{17B3FEAE-89A9-4E70-9B3A-7BECC4A56CA2}" type="presParOf" srcId="{2595A4E7-4FD6-4C36-82C9-2F6D260E6AB6}" destId="{41DE4277-D8C1-43ED-8C28-0A01E34A390E}" srcOrd="1" destOrd="0" presId="urn:microsoft.com/office/officeart/2005/8/layout/bProcess4"/>
    <dgm:cxn modelId="{D73D6EBE-E072-4C69-95AD-781860B7A5C3}" type="presParOf" srcId="{03079328-9151-4C0E-9A56-E7AAD33F55DD}" destId="{FC8F83C2-9B4E-4300-B031-303F48526180}" srcOrd="7" destOrd="0" presId="urn:microsoft.com/office/officeart/2005/8/layout/bProcess4"/>
    <dgm:cxn modelId="{332C05A4-5947-4451-A2CE-DE1B325336CC}" type="presParOf" srcId="{03079328-9151-4C0E-9A56-E7AAD33F55DD}" destId="{70ECC139-EB26-43FA-B609-E62E0A918BE7}" srcOrd="8" destOrd="0" presId="urn:microsoft.com/office/officeart/2005/8/layout/bProcess4"/>
    <dgm:cxn modelId="{0CCD8F0B-817C-4DE6-9224-90C51228A126}" type="presParOf" srcId="{70ECC139-EB26-43FA-B609-E62E0A918BE7}" destId="{A6AC8699-C450-47FB-8E99-BACE88819B3A}" srcOrd="0" destOrd="0" presId="urn:microsoft.com/office/officeart/2005/8/layout/bProcess4"/>
    <dgm:cxn modelId="{311CDF47-0671-44CF-81F9-42EC454B1956}" type="presParOf" srcId="{70ECC139-EB26-43FA-B609-E62E0A918BE7}" destId="{80C92BDA-C358-49FE-BC55-89DA9034131B}" srcOrd="1" destOrd="0" presId="urn:microsoft.com/office/officeart/2005/8/layout/bProcess4"/>
    <dgm:cxn modelId="{9D9D8620-0B49-4BA9-A65A-67A0A77932F5}" type="presParOf" srcId="{03079328-9151-4C0E-9A56-E7AAD33F55DD}" destId="{F13C49E6-911B-4FF6-BEC2-E81D9CB4E76F}" srcOrd="9" destOrd="0" presId="urn:microsoft.com/office/officeart/2005/8/layout/bProcess4"/>
    <dgm:cxn modelId="{9853AA67-161D-4E5D-9A9D-B521EC59BFF8}" type="presParOf" srcId="{03079328-9151-4C0E-9A56-E7AAD33F55DD}" destId="{84DB29CF-9BD9-4408-8122-93F5A25DEA32}" srcOrd="10" destOrd="0" presId="urn:microsoft.com/office/officeart/2005/8/layout/bProcess4"/>
    <dgm:cxn modelId="{C3268F9A-0AD1-4F71-93A6-DBA499FECD3A}" type="presParOf" srcId="{84DB29CF-9BD9-4408-8122-93F5A25DEA32}" destId="{F707B356-329D-4BCF-B949-E8E93F700A66}" srcOrd="0" destOrd="0" presId="urn:microsoft.com/office/officeart/2005/8/layout/bProcess4"/>
    <dgm:cxn modelId="{F187C848-B8CF-4332-8420-4AB1257B8134}" type="presParOf" srcId="{84DB29CF-9BD9-4408-8122-93F5A25DEA32}" destId="{FD983325-6C98-4E5C-9430-3F64C707E053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5C67D8-B897-40E6-AC08-C4D99CCA8BC7}" type="doc">
      <dgm:prSet loTypeId="urn:microsoft.com/office/officeart/2005/8/layout/radial4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AB6312C-005B-4DB0-B8F3-17E126E0B8E5}">
      <dgm:prSet phldrT="[Text]"/>
      <dgm:spPr>
        <a:solidFill>
          <a:schemeClr val="accent1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8 Joint Plans</a:t>
          </a:r>
        </a:p>
      </dgm:t>
    </dgm:pt>
    <dgm:pt modelId="{5C5D810F-3B73-40C3-A783-D7D152488DD6}" type="parTrans" cxnId="{91D113FC-580D-4BA4-96DF-5703733281EC}">
      <dgm:prSet/>
      <dgm:spPr/>
      <dgm:t>
        <a:bodyPr/>
        <a:lstStyle/>
        <a:p>
          <a:endParaRPr lang="en-US"/>
        </a:p>
      </dgm:t>
    </dgm:pt>
    <dgm:pt modelId="{56525DB9-D777-4424-B7EA-16835182AE47}" type="sibTrans" cxnId="{91D113FC-580D-4BA4-96DF-5703733281EC}">
      <dgm:prSet/>
      <dgm:spPr/>
      <dgm:t>
        <a:bodyPr/>
        <a:lstStyle/>
        <a:p>
          <a:endParaRPr lang="en-US"/>
        </a:p>
      </dgm:t>
    </dgm:pt>
    <dgm:pt modelId="{95BA7FF2-38D6-4E1A-B729-3C3E4190CB0E}">
      <dgm:prSet phldrT="[Text]"/>
      <dgm:spPr/>
      <dgm:t>
        <a:bodyPr/>
        <a:lstStyle/>
        <a:p>
          <a:r>
            <a:rPr lang="en-US" dirty="0"/>
            <a:t>34 Local Health Departments</a:t>
          </a:r>
        </a:p>
      </dgm:t>
    </dgm:pt>
    <dgm:pt modelId="{72F36D9C-5BDD-4210-93C8-125E6F63DB46}" type="parTrans" cxnId="{89F0877B-E66D-45D4-8EC8-A807582FC22F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189D3D7C-72B4-4FAC-B1BC-4C04DC947A50}" type="sibTrans" cxnId="{89F0877B-E66D-45D4-8EC8-A807582FC22F}">
      <dgm:prSet/>
      <dgm:spPr/>
      <dgm:t>
        <a:bodyPr/>
        <a:lstStyle/>
        <a:p>
          <a:endParaRPr lang="en-US"/>
        </a:p>
      </dgm:t>
    </dgm:pt>
    <dgm:pt modelId="{2D1A7914-4CF5-4D38-88AC-0F9BB756F978}">
      <dgm:prSet phldrT="[Text]"/>
      <dgm:spPr/>
      <dgm:t>
        <a:bodyPr/>
        <a:lstStyle/>
        <a:p>
          <a:r>
            <a:rPr lang="en-US" dirty="0"/>
            <a:t>70 Hospitals</a:t>
          </a:r>
        </a:p>
      </dgm:t>
    </dgm:pt>
    <dgm:pt modelId="{B3B71D70-0B1F-432F-8AD9-242365A66F30}" type="parTrans" cxnId="{C90078D0-B0DC-469E-8838-333392CEC97A}">
      <dgm:prSet/>
      <dgm:spPr/>
      <dgm:t>
        <a:bodyPr/>
        <a:lstStyle/>
        <a:p>
          <a:endParaRPr lang="en-US"/>
        </a:p>
      </dgm:t>
    </dgm:pt>
    <dgm:pt modelId="{E23A91B4-BD7B-44C4-BD28-86BD5083C514}" type="sibTrans" cxnId="{C90078D0-B0DC-469E-8838-333392CEC97A}">
      <dgm:prSet/>
      <dgm:spPr/>
      <dgm:t>
        <a:bodyPr/>
        <a:lstStyle/>
        <a:p>
          <a:endParaRPr lang="en-US"/>
        </a:p>
      </dgm:t>
    </dgm:pt>
    <dgm:pt modelId="{F3D0C64F-20AA-4432-870B-C3D468E37D54}" type="pres">
      <dgm:prSet presAssocID="{E65C67D8-B897-40E6-AC08-C4D99CCA8BC7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D5A002B-3202-4D2D-BBC4-036F3E9F26BD}" type="pres">
      <dgm:prSet presAssocID="{BAB6312C-005B-4DB0-B8F3-17E126E0B8E5}" presName="centerShape" presStyleLbl="node0" presStyleIdx="0" presStyleCnt="1"/>
      <dgm:spPr/>
    </dgm:pt>
    <dgm:pt modelId="{7AB0581B-5F59-4C03-933B-B26E9B0B3A3F}" type="pres">
      <dgm:prSet presAssocID="{72F36D9C-5BDD-4210-93C8-125E6F63DB46}" presName="parTrans" presStyleLbl="bgSibTrans2D1" presStyleIdx="0" presStyleCnt="2"/>
      <dgm:spPr/>
    </dgm:pt>
    <dgm:pt modelId="{F66490D9-07BF-4A8B-8E28-299D59ADEDAC}" type="pres">
      <dgm:prSet presAssocID="{95BA7FF2-38D6-4E1A-B729-3C3E4190CB0E}" presName="node" presStyleLbl="node1" presStyleIdx="0" presStyleCnt="2">
        <dgm:presLayoutVars>
          <dgm:bulletEnabled val="1"/>
        </dgm:presLayoutVars>
      </dgm:prSet>
      <dgm:spPr/>
    </dgm:pt>
    <dgm:pt modelId="{49563640-D863-4895-8B89-D4F3F175CE38}" type="pres">
      <dgm:prSet presAssocID="{B3B71D70-0B1F-432F-8AD9-242365A66F30}" presName="parTrans" presStyleLbl="bgSibTrans2D1" presStyleIdx="1" presStyleCnt="2"/>
      <dgm:spPr/>
    </dgm:pt>
    <dgm:pt modelId="{B96BBDA4-ACED-4F1A-8972-B951491AE9E0}" type="pres">
      <dgm:prSet presAssocID="{2D1A7914-4CF5-4D38-88AC-0F9BB756F978}" presName="node" presStyleLbl="node1" presStyleIdx="1" presStyleCnt="2">
        <dgm:presLayoutVars>
          <dgm:bulletEnabled val="1"/>
        </dgm:presLayoutVars>
      </dgm:prSet>
      <dgm:spPr/>
    </dgm:pt>
  </dgm:ptLst>
  <dgm:cxnLst>
    <dgm:cxn modelId="{AA970022-5F18-4E07-810D-19ACE564C0F2}" type="presOf" srcId="{95BA7FF2-38D6-4E1A-B729-3C3E4190CB0E}" destId="{F66490D9-07BF-4A8B-8E28-299D59ADEDAC}" srcOrd="0" destOrd="0" presId="urn:microsoft.com/office/officeart/2005/8/layout/radial4"/>
    <dgm:cxn modelId="{7CD4D75F-D246-4910-9981-BFE05D9D5E1B}" type="presOf" srcId="{72F36D9C-5BDD-4210-93C8-125E6F63DB46}" destId="{7AB0581B-5F59-4C03-933B-B26E9B0B3A3F}" srcOrd="0" destOrd="0" presId="urn:microsoft.com/office/officeart/2005/8/layout/radial4"/>
    <dgm:cxn modelId="{89F0877B-E66D-45D4-8EC8-A807582FC22F}" srcId="{BAB6312C-005B-4DB0-B8F3-17E126E0B8E5}" destId="{95BA7FF2-38D6-4E1A-B729-3C3E4190CB0E}" srcOrd="0" destOrd="0" parTransId="{72F36D9C-5BDD-4210-93C8-125E6F63DB46}" sibTransId="{189D3D7C-72B4-4FAC-B1BC-4C04DC947A50}"/>
    <dgm:cxn modelId="{EC653D83-428D-409F-ABB2-D17FBB567777}" type="presOf" srcId="{BAB6312C-005B-4DB0-B8F3-17E126E0B8E5}" destId="{1D5A002B-3202-4D2D-BBC4-036F3E9F26BD}" srcOrd="0" destOrd="0" presId="urn:microsoft.com/office/officeart/2005/8/layout/radial4"/>
    <dgm:cxn modelId="{67CBE7BA-F5D3-40AF-A735-5C5FF2EFC035}" type="presOf" srcId="{B3B71D70-0B1F-432F-8AD9-242365A66F30}" destId="{49563640-D863-4895-8B89-D4F3F175CE38}" srcOrd="0" destOrd="0" presId="urn:microsoft.com/office/officeart/2005/8/layout/radial4"/>
    <dgm:cxn modelId="{8B5039C4-7FBC-4FD9-8C7D-8A3B0BE057B7}" type="presOf" srcId="{2D1A7914-4CF5-4D38-88AC-0F9BB756F978}" destId="{B96BBDA4-ACED-4F1A-8972-B951491AE9E0}" srcOrd="0" destOrd="0" presId="urn:microsoft.com/office/officeart/2005/8/layout/radial4"/>
    <dgm:cxn modelId="{9FB780C6-A3FC-4930-9164-45D62BEA260E}" type="presOf" srcId="{E65C67D8-B897-40E6-AC08-C4D99CCA8BC7}" destId="{F3D0C64F-20AA-4432-870B-C3D468E37D54}" srcOrd="0" destOrd="0" presId="urn:microsoft.com/office/officeart/2005/8/layout/radial4"/>
    <dgm:cxn modelId="{C90078D0-B0DC-469E-8838-333392CEC97A}" srcId="{BAB6312C-005B-4DB0-B8F3-17E126E0B8E5}" destId="{2D1A7914-4CF5-4D38-88AC-0F9BB756F978}" srcOrd="1" destOrd="0" parTransId="{B3B71D70-0B1F-432F-8AD9-242365A66F30}" sibTransId="{E23A91B4-BD7B-44C4-BD28-86BD5083C514}"/>
    <dgm:cxn modelId="{91D113FC-580D-4BA4-96DF-5703733281EC}" srcId="{E65C67D8-B897-40E6-AC08-C4D99CCA8BC7}" destId="{BAB6312C-005B-4DB0-B8F3-17E126E0B8E5}" srcOrd="0" destOrd="0" parTransId="{5C5D810F-3B73-40C3-A783-D7D152488DD6}" sibTransId="{56525DB9-D777-4424-B7EA-16835182AE47}"/>
    <dgm:cxn modelId="{738324BB-4B31-427D-AA9A-59348703ABC4}" type="presParOf" srcId="{F3D0C64F-20AA-4432-870B-C3D468E37D54}" destId="{1D5A002B-3202-4D2D-BBC4-036F3E9F26BD}" srcOrd="0" destOrd="0" presId="urn:microsoft.com/office/officeart/2005/8/layout/radial4"/>
    <dgm:cxn modelId="{B5AAE1B7-54A2-4CF7-93EF-C1F7A487732C}" type="presParOf" srcId="{F3D0C64F-20AA-4432-870B-C3D468E37D54}" destId="{7AB0581B-5F59-4C03-933B-B26E9B0B3A3F}" srcOrd="1" destOrd="0" presId="urn:microsoft.com/office/officeart/2005/8/layout/radial4"/>
    <dgm:cxn modelId="{C6A3A9CD-1F8E-4CDA-9B1E-928BCDFCFC6D}" type="presParOf" srcId="{F3D0C64F-20AA-4432-870B-C3D468E37D54}" destId="{F66490D9-07BF-4A8B-8E28-299D59ADEDAC}" srcOrd="2" destOrd="0" presId="urn:microsoft.com/office/officeart/2005/8/layout/radial4"/>
    <dgm:cxn modelId="{73BB278E-1185-4298-B8A6-53A8D556A1B7}" type="presParOf" srcId="{F3D0C64F-20AA-4432-870B-C3D468E37D54}" destId="{49563640-D863-4895-8B89-D4F3F175CE38}" srcOrd="3" destOrd="0" presId="urn:microsoft.com/office/officeart/2005/8/layout/radial4"/>
    <dgm:cxn modelId="{D523BAB0-8572-4506-95CA-51FABC103FE9}" type="presParOf" srcId="{F3D0C64F-20AA-4432-870B-C3D468E37D54}" destId="{B96BBDA4-ACED-4F1A-8972-B951491AE9E0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88636D8-101E-45EE-8302-DE42B27A7E98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9C18F27-3DE6-40E4-BA10-A44DB32CD859}">
      <dgm:prSet custT="1"/>
      <dgm:spPr/>
      <dgm:t>
        <a:bodyPr/>
        <a:lstStyle/>
        <a:p>
          <a:pPr algn="l"/>
          <a:r>
            <a:rPr lang="en-US" sz="2000" b="1" dirty="0">
              <a:latin typeface="+mn-lt"/>
            </a:rPr>
            <a:t>Community Health Improvement </a:t>
          </a:r>
        </a:p>
      </dgm:t>
    </dgm:pt>
    <dgm:pt modelId="{59B403F7-E38C-41B1-99D6-2C4A05371D0F}" type="parTrans" cxnId="{507B4F42-3708-44F9-8383-AE72F5C09B84}">
      <dgm:prSet/>
      <dgm:spPr/>
      <dgm:t>
        <a:bodyPr/>
        <a:lstStyle/>
        <a:p>
          <a:endParaRPr lang="en-US"/>
        </a:p>
      </dgm:t>
    </dgm:pt>
    <dgm:pt modelId="{4D2E4F86-5EAE-455C-882B-45153209DB76}" type="sibTrans" cxnId="{507B4F42-3708-44F9-8383-AE72F5C09B84}">
      <dgm:prSet/>
      <dgm:spPr/>
      <dgm:t>
        <a:bodyPr/>
        <a:lstStyle/>
        <a:p>
          <a:endParaRPr lang="en-US"/>
        </a:p>
      </dgm:t>
    </dgm:pt>
    <dgm:pt modelId="{8DFC3222-C241-4324-8FE8-CFFBD9DD57A9}">
      <dgm:prSet custT="1"/>
      <dgm:spPr/>
      <dgm:t>
        <a:bodyPr/>
        <a:lstStyle/>
        <a:p>
          <a:pPr algn="l">
            <a:buFont typeface="+mj-lt"/>
            <a:buAutoNum type="arabicPeriod"/>
          </a:pPr>
          <a:r>
            <a:rPr lang="en-US" sz="2000" b="1" dirty="0">
              <a:latin typeface="+mn-lt"/>
            </a:rPr>
            <a:t>Certificate of Need (CON) ​Applications</a:t>
          </a:r>
        </a:p>
      </dgm:t>
    </dgm:pt>
    <dgm:pt modelId="{11F24791-670A-4ADE-B90F-0034F3456DEA}" type="parTrans" cxnId="{DA7FD3DF-8122-40E7-88F6-3CEE3B7A7448}">
      <dgm:prSet/>
      <dgm:spPr/>
      <dgm:t>
        <a:bodyPr/>
        <a:lstStyle/>
        <a:p>
          <a:endParaRPr lang="en-US"/>
        </a:p>
      </dgm:t>
    </dgm:pt>
    <dgm:pt modelId="{D4FE4471-63CD-4345-ACA5-517110C00947}" type="sibTrans" cxnId="{DA7FD3DF-8122-40E7-88F6-3CEE3B7A7448}">
      <dgm:prSet/>
      <dgm:spPr/>
      <dgm:t>
        <a:bodyPr/>
        <a:lstStyle/>
        <a:p>
          <a:endParaRPr lang="en-US"/>
        </a:p>
      </dgm:t>
    </dgm:pt>
    <dgm:pt modelId="{B4DACDEB-B2A7-42B6-B491-09E4D9D99FA1}">
      <dgm:prSet custT="1"/>
      <dgm:spPr/>
      <dgm:t>
        <a:bodyPr/>
        <a:lstStyle/>
        <a:p>
          <a:pPr>
            <a:buNone/>
          </a:pPr>
          <a:endParaRPr lang="en-US" sz="2400" dirty="0"/>
        </a:p>
      </dgm:t>
    </dgm:pt>
    <dgm:pt modelId="{16CE65D4-04E1-4287-814D-125C7891F6EC}" type="parTrans" cxnId="{583BBD30-77CA-4EFD-9A78-25967FDE201B}">
      <dgm:prSet/>
      <dgm:spPr/>
      <dgm:t>
        <a:bodyPr/>
        <a:lstStyle/>
        <a:p>
          <a:endParaRPr lang="en-US"/>
        </a:p>
      </dgm:t>
    </dgm:pt>
    <dgm:pt modelId="{50093F79-6583-4832-A308-F363BD126290}" type="sibTrans" cxnId="{583BBD30-77CA-4EFD-9A78-25967FDE201B}">
      <dgm:prSet/>
      <dgm:spPr/>
      <dgm:t>
        <a:bodyPr/>
        <a:lstStyle/>
        <a:p>
          <a:endParaRPr lang="en-US"/>
        </a:p>
      </dgm:t>
    </dgm:pt>
    <dgm:pt modelId="{5123FE06-8E47-4F5C-A954-7A706328EBC9}">
      <dgm:prSet/>
      <dgm:spPr/>
      <dgm:t>
        <a:bodyPr/>
        <a:lstStyle/>
        <a:p>
          <a:pPr>
            <a:buFont typeface="Wingdings" panose="05000000000000000000" pitchFamily="2" charset="2"/>
            <a:buChar char="§"/>
          </a:pPr>
          <a:endParaRPr lang="en-US" sz="1400" b="0" kern="1200" dirty="0"/>
        </a:p>
      </dgm:t>
    </dgm:pt>
    <dgm:pt modelId="{8AB40D63-7209-4D5A-870D-1EA7ED3898F0}" type="parTrans" cxnId="{A42C026D-A179-4938-AF76-C3A006391311}">
      <dgm:prSet/>
      <dgm:spPr/>
      <dgm:t>
        <a:bodyPr/>
        <a:lstStyle/>
        <a:p>
          <a:endParaRPr lang="en-US"/>
        </a:p>
      </dgm:t>
    </dgm:pt>
    <dgm:pt modelId="{C97DC8FA-5D28-45B7-B14F-12235C854896}" type="sibTrans" cxnId="{A42C026D-A179-4938-AF76-C3A006391311}">
      <dgm:prSet/>
      <dgm:spPr/>
      <dgm:t>
        <a:bodyPr/>
        <a:lstStyle/>
        <a:p>
          <a:endParaRPr lang="en-US"/>
        </a:p>
      </dgm:t>
    </dgm:pt>
    <dgm:pt modelId="{33B252B5-AE2A-44CA-B5BD-CE4C656E37C5}">
      <dgm:prSet custT="1"/>
      <dgm:spPr/>
      <dgm:t>
        <a:bodyPr/>
        <a:lstStyle/>
        <a:p>
          <a:pPr algn="l">
            <a:buFont typeface="+mj-lt"/>
            <a:buAutoNum type="arabicPeriod"/>
          </a:pPr>
          <a:r>
            <a:rPr lang="en-US" sz="2000" b="1" dirty="0">
              <a:latin typeface="+mn-lt"/>
            </a:rPr>
            <a:t>Hospitals’ Community Benefit Spending</a:t>
          </a:r>
        </a:p>
      </dgm:t>
    </dgm:pt>
    <dgm:pt modelId="{9191030F-ED87-459B-9BD0-D7F7257F9BCB}" type="parTrans" cxnId="{BD829284-90A8-4526-A636-25BD65D9A001}">
      <dgm:prSet/>
      <dgm:spPr/>
      <dgm:t>
        <a:bodyPr/>
        <a:lstStyle/>
        <a:p>
          <a:endParaRPr lang="en-US"/>
        </a:p>
      </dgm:t>
    </dgm:pt>
    <dgm:pt modelId="{7F43610B-7BDA-4E72-BAAB-E86EABBD5400}" type="sibTrans" cxnId="{BD829284-90A8-4526-A636-25BD65D9A001}">
      <dgm:prSet/>
      <dgm:spPr/>
      <dgm:t>
        <a:bodyPr/>
        <a:lstStyle/>
        <a:p>
          <a:endParaRPr lang="en-US"/>
        </a:p>
      </dgm:t>
    </dgm:pt>
    <dgm:pt modelId="{2C54E197-EC2C-4027-B163-FB2F287037AF}">
      <dgm:prSet custT="1"/>
      <dgm:spPr/>
      <dgm:t>
        <a:bodyPr/>
        <a:lstStyle/>
        <a:p>
          <a:pPr algn="l"/>
          <a:r>
            <a:rPr lang="en-US" sz="2000" b="1" dirty="0">
              <a:latin typeface="+mn-lt"/>
            </a:rPr>
            <a:t>Interagency Collaboration</a:t>
          </a:r>
        </a:p>
      </dgm:t>
    </dgm:pt>
    <dgm:pt modelId="{BC2EA21B-2508-45F8-B29F-8417B5060B1D}" type="parTrans" cxnId="{0B72E24F-8B98-48FC-A5B1-D1E6B18F315F}">
      <dgm:prSet/>
      <dgm:spPr/>
      <dgm:t>
        <a:bodyPr/>
        <a:lstStyle/>
        <a:p>
          <a:endParaRPr lang="en-US"/>
        </a:p>
      </dgm:t>
    </dgm:pt>
    <dgm:pt modelId="{3CE4C0EA-8AD6-4388-A0F3-75441451EBE5}" type="sibTrans" cxnId="{0B72E24F-8B98-48FC-A5B1-D1E6B18F315F}">
      <dgm:prSet/>
      <dgm:spPr/>
      <dgm:t>
        <a:bodyPr/>
        <a:lstStyle/>
        <a:p>
          <a:endParaRPr lang="en-US"/>
        </a:p>
      </dgm:t>
    </dgm:pt>
    <dgm:pt modelId="{8C12EC00-768F-433C-9AE3-A9041E8DEF8D}">
      <dgm:prSet custT="1"/>
      <dgm:spPr/>
      <dgm:t>
        <a:bodyPr/>
        <a:lstStyle/>
        <a:p>
          <a:pPr>
            <a:buFont typeface="Wingdings" panose="05000000000000000000" pitchFamily="2" charset="2"/>
            <a:buNone/>
          </a:pPr>
          <a:endParaRPr lang="en-US" sz="2400" b="0" dirty="0"/>
        </a:p>
      </dgm:t>
    </dgm:pt>
    <dgm:pt modelId="{648C01DB-52C8-4A89-9637-E466464022AA}" type="parTrans" cxnId="{CAF30BF7-AAA4-4130-994C-2D31B6FB64DB}">
      <dgm:prSet/>
      <dgm:spPr/>
      <dgm:t>
        <a:bodyPr/>
        <a:lstStyle/>
        <a:p>
          <a:endParaRPr lang="en-US"/>
        </a:p>
      </dgm:t>
    </dgm:pt>
    <dgm:pt modelId="{C1513633-841F-4C3D-81D9-F5A4B98EFDBE}" type="sibTrans" cxnId="{CAF30BF7-AAA4-4130-994C-2D31B6FB64DB}">
      <dgm:prSet/>
      <dgm:spPr/>
      <dgm:t>
        <a:bodyPr/>
        <a:lstStyle/>
        <a:p>
          <a:endParaRPr lang="en-US"/>
        </a:p>
      </dgm:t>
    </dgm:pt>
    <dgm:pt modelId="{5A0975D3-1AB4-4309-81FE-3C42DBED5F4F}">
      <dgm:prSet custT="1"/>
      <dgm:spPr/>
      <dgm:t>
        <a:bodyPr/>
        <a:lstStyle/>
        <a:p>
          <a:pPr>
            <a:buFont typeface="Wingdings" panose="05000000000000000000" pitchFamily="2" charset="2"/>
            <a:buNone/>
          </a:pPr>
          <a:endParaRPr lang="en-US" sz="2400" dirty="0"/>
        </a:p>
      </dgm:t>
    </dgm:pt>
    <dgm:pt modelId="{988F3F9C-AF04-4170-B0CE-BE38991E524F}" type="parTrans" cxnId="{F6D2117C-DD94-4245-A28D-81D1CE4FBC29}">
      <dgm:prSet/>
      <dgm:spPr/>
      <dgm:t>
        <a:bodyPr/>
        <a:lstStyle/>
        <a:p>
          <a:endParaRPr lang="en-US"/>
        </a:p>
      </dgm:t>
    </dgm:pt>
    <dgm:pt modelId="{A8DE850C-2942-47A4-B788-7A8A7CC2A739}" type="sibTrans" cxnId="{F6D2117C-DD94-4245-A28D-81D1CE4FBC29}">
      <dgm:prSet/>
      <dgm:spPr/>
      <dgm:t>
        <a:bodyPr/>
        <a:lstStyle/>
        <a:p>
          <a:endParaRPr lang="en-US"/>
        </a:p>
      </dgm:t>
    </dgm:pt>
    <dgm:pt modelId="{F3DB99AE-6840-4818-875D-B22B8FC651A4}" type="pres">
      <dgm:prSet presAssocID="{288636D8-101E-45EE-8302-DE42B27A7E98}" presName="Name0" presStyleCnt="0">
        <dgm:presLayoutVars>
          <dgm:dir/>
          <dgm:animLvl val="lvl"/>
          <dgm:resizeHandles val="exact"/>
        </dgm:presLayoutVars>
      </dgm:prSet>
      <dgm:spPr/>
    </dgm:pt>
    <dgm:pt modelId="{070738C4-06D8-43C1-9524-1B43EFB9D85F}" type="pres">
      <dgm:prSet presAssocID="{29C18F27-3DE6-40E4-BA10-A44DB32CD859}" presName="linNode" presStyleCnt="0"/>
      <dgm:spPr/>
    </dgm:pt>
    <dgm:pt modelId="{C307A7A3-986C-4302-8BEF-F7E167C8124B}" type="pres">
      <dgm:prSet presAssocID="{29C18F27-3DE6-40E4-BA10-A44DB32CD859}" presName="parentText" presStyleLbl="node1" presStyleIdx="0" presStyleCnt="4" custScaleX="70777">
        <dgm:presLayoutVars>
          <dgm:chMax val="1"/>
          <dgm:bulletEnabled val="1"/>
        </dgm:presLayoutVars>
      </dgm:prSet>
      <dgm:spPr/>
    </dgm:pt>
    <dgm:pt modelId="{C3145125-A5EE-4CB8-9F01-BCEA4FFE5C85}" type="pres">
      <dgm:prSet presAssocID="{29C18F27-3DE6-40E4-BA10-A44DB32CD859}" presName="descendantText" presStyleLbl="alignAccFollowNode1" presStyleIdx="0" presStyleCnt="4">
        <dgm:presLayoutVars>
          <dgm:bulletEnabled val="1"/>
        </dgm:presLayoutVars>
      </dgm:prSet>
      <dgm:spPr/>
    </dgm:pt>
    <dgm:pt modelId="{D5DC3455-45CE-4D4F-9C9D-04FDCD87D8E8}" type="pres">
      <dgm:prSet presAssocID="{4D2E4F86-5EAE-455C-882B-45153209DB76}" presName="sp" presStyleCnt="0"/>
      <dgm:spPr/>
    </dgm:pt>
    <dgm:pt modelId="{BCBB2F0F-3E6A-4186-9FA5-185190A9A092}" type="pres">
      <dgm:prSet presAssocID="{8DFC3222-C241-4324-8FE8-CFFBD9DD57A9}" presName="linNode" presStyleCnt="0"/>
      <dgm:spPr/>
    </dgm:pt>
    <dgm:pt modelId="{35DC07BD-53B6-41A1-B831-2FDCAB606694}" type="pres">
      <dgm:prSet presAssocID="{8DFC3222-C241-4324-8FE8-CFFBD9DD57A9}" presName="parentText" presStyleLbl="node1" presStyleIdx="1" presStyleCnt="4" custScaleX="70777">
        <dgm:presLayoutVars>
          <dgm:chMax val="1"/>
          <dgm:bulletEnabled val="1"/>
        </dgm:presLayoutVars>
      </dgm:prSet>
      <dgm:spPr/>
    </dgm:pt>
    <dgm:pt modelId="{3EE71786-F4D1-4BAA-9B72-4A126A0FAAE7}" type="pres">
      <dgm:prSet presAssocID="{8DFC3222-C241-4324-8FE8-CFFBD9DD57A9}" presName="descendantText" presStyleLbl="alignAccFollowNode1" presStyleIdx="1" presStyleCnt="4">
        <dgm:presLayoutVars>
          <dgm:bulletEnabled val="1"/>
        </dgm:presLayoutVars>
      </dgm:prSet>
      <dgm:spPr/>
    </dgm:pt>
    <dgm:pt modelId="{0F0908D9-7450-42F2-A9AE-A532870403CD}" type="pres">
      <dgm:prSet presAssocID="{D4FE4471-63CD-4345-ACA5-517110C00947}" presName="sp" presStyleCnt="0"/>
      <dgm:spPr/>
    </dgm:pt>
    <dgm:pt modelId="{1EF0E718-2090-45BF-9107-ECBC3A584E7B}" type="pres">
      <dgm:prSet presAssocID="{33B252B5-AE2A-44CA-B5BD-CE4C656E37C5}" presName="linNode" presStyleCnt="0"/>
      <dgm:spPr/>
    </dgm:pt>
    <dgm:pt modelId="{0376B70E-795A-436F-9DE4-7B7F78D01C66}" type="pres">
      <dgm:prSet presAssocID="{33B252B5-AE2A-44CA-B5BD-CE4C656E37C5}" presName="parentText" presStyleLbl="node1" presStyleIdx="2" presStyleCnt="4" custScaleX="70777">
        <dgm:presLayoutVars>
          <dgm:chMax val="1"/>
          <dgm:bulletEnabled val="1"/>
        </dgm:presLayoutVars>
      </dgm:prSet>
      <dgm:spPr/>
    </dgm:pt>
    <dgm:pt modelId="{6C714193-FC1E-4AD2-997B-BF98F8F18EE6}" type="pres">
      <dgm:prSet presAssocID="{33B252B5-AE2A-44CA-B5BD-CE4C656E37C5}" presName="descendantText" presStyleLbl="alignAccFollowNode1" presStyleIdx="2" presStyleCnt="4">
        <dgm:presLayoutVars>
          <dgm:bulletEnabled val="1"/>
        </dgm:presLayoutVars>
      </dgm:prSet>
      <dgm:spPr/>
    </dgm:pt>
    <dgm:pt modelId="{112C5348-B258-410D-9D31-61903DE8765A}" type="pres">
      <dgm:prSet presAssocID="{7F43610B-7BDA-4E72-BAAB-E86EABBD5400}" presName="sp" presStyleCnt="0"/>
      <dgm:spPr/>
    </dgm:pt>
    <dgm:pt modelId="{8BBBDAAA-2999-4AFF-98F6-002B8D2CF229}" type="pres">
      <dgm:prSet presAssocID="{2C54E197-EC2C-4027-B163-FB2F287037AF}" presName="linNode" presStyleCnt="0"/>
      <dgm:spPr/>
    </dgm:pt>
    <dgm:pt modelId="{E19A5EAB-2BB5-4A72-9F43-4DA5BEE1B542}" type="pres">
      <dgm:prSet presAssocID="{2C54E197-EC2C-4027-B163-FB2F287037AF}" presName="parentText" presStyleLbl="node1" presStyleIdx="3" presStyleCnt="4" custScaleX="70777">
        <dgm:presLayoutVars>
          <dgm:chMax val="1"/>
          <dgm:bulletEnabled val="1"/>
        </dgm:presLayoutVars>
      </dgm:prSet>
      <dgm:spPr/>
    </dgm:pt>
    <dgm:pt modelId="{EB683D65-E73F-4F47-AAD4-2BA5BF3DD389}" type="pres">
      <dgm:prSet presAssocID="{2C54E197-EC2C-4027-B163-FB2F287037AF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1B60320E-1334-445E-9A5E-DFAD5C06F8ED}" type="presOf" srcId="{8C12EC00-768F-433C-9AE3-A9041E8DEF8D}" destId="{6C714193-FC1E-4AD2-997B-BF98F8F18EE6}" srcOrd="0" destOrd="0" presId="urn:microsoft.com/office/officeart/2005/8/layout/vList5"/>
    <dgm:cxn modelId="{583BBD30-77CA-4EFD-9A78-25967FDE201B}" srcId="{29C18F27-3DE6-40E4-BA10-A44DB32CD859}" destId="{B4DACDEB-B2A7-42B6-B491-09E4D9D99FA1}" srcOrd="0" destOrd="0" parTransId="{16CE65D4-04E1-4287-814D-125C7891F6EC}" sibTransId="{50093F79-6583-4832-A308-F363BD126290}"/>
    <dgm:cxn modelId="{89D0A234-CE8C-4DF0-8031-DD0882CAB306}" type="presOf" srcId="{288636D8-101E-45EE-8302-DE42B27A7E98}" destId="{F3DB99AE-6840-4818-875D-B22B8FC651A4}" srcOrd="0" destOrd="0" presId="urn:microsoft.com/office/officeart/2005/8/layout/vList5"/>
    <dgm:cxn modelId="{507B4F42-3708-44F9-8383-AE72F5C09B84}" srcId="{288636D8-101E-45EE-8302-DE42B27A7E98}" destId="{29C18F27-3DE6-40E4-BA10-A44DB32CD859}" srcOrd="0" destOrd="0" parTransId="{59B403F7-E38C-41B1-99D6-2C4A05371D0F}" sibTransId="{4D2E4F86-5EAE-455C-882B-45153209DB76}"/>
    <dgm:cxn modelId="{46628945-65B6-4D06-BB19-4EB2BA9E8F9E}" type="presOf" srcId="{5123FE06-8E47-4F5C-A954-7A706328EBC9}" destId="{3EE71786-F4D1-4BAA-9B72-4A126A0FAAE7}" srcOrd="0" destOrd="0" presId="urn:microsoft.com/office/officeart/2005/8/layout/vList5"/>
    <dgm:cxn modelId="{A42C026D-A179-4938-AF76-C3A006391311}" srcId="{8DFC3222-C241-4324-8FE8-CFFBD9DD57A9}" destId="{5123FE06-8E47-4F5C-A954-7A706328EBC9}" srcOrd="0" destOrd="0" parTransId="{8AB40D63-7209-4D5A-870D-1EA7ED3898F0}" sibTransId="{C97DC8FA-5D28-45B7-B14F-12235C854896}"/>
    <dgm:cxn modelId="{0B72E24F-8B98-48FC-A5B1-D1E6B18F315F}" srcId="{288636D8-101E-45EE-8302-DE42B27A7E98}" destId="{2C54E197-EC2C-4027-B163-FB2F287037AF}" srcOrd="3" destOrd="0" parTransId="{BC2EA21B-2508-45F8-B29F-8417B5060B1D}" sibTransId="{3CE4C0EA-8AD6-4388-A0F3-75441451EBE5}"/>
    <dgm:cxn modelId="{F55DDD75-B648-466D-BA17-56CD26CD5F99}" type="presOf" srcId="{33B252B5-AE2A-44CA-B5BD-CE4C656E37C5}" destId="{0376B70E-795A-436F-9DE4-7B7F78D01C66}" srcOrd="0" destOrd="0" presId="urn:microsoft.com/office/officeart/2005/8/layout/vList5"/>
    <dgm:cxn modelId="{F6D2117C-DD94-4245-A28D-81D1CE4FBC29}" srcId="{2C54E197-EC2C-4027-B163-FB2F287037AF}" destId="{5A0975D3-1AB4-4309-81FE-3C42DBED5F4F}" srcOrd="0" destOrd="0" parTransId="{988F3F9C-AF04-4170-B0CE-BE38991E524F}" sibTransId="{A8DE850C-2942-47A4-B788-7A8A7CC2A739}"/>
    <dgm:cxn modelId="{5FF2107E-7B45-4F7C-82E8-E41758E73C46}" type="presOf" srcId="{B4DACDEB-B2A7-42B6-B491-09E4D9D99FA1}" destId="{C3145125-A5EE-4CB8-9F01-BCEA4FFE5C85}" srcOrd="0" destOrd="0" presId="urn:microsoft.com/office/officeart/2005/8/layout/vList5"/>
    <dgm:cxn modelId="{BD829284-90A8-4526-A636-25BD65D9A001}" srcId="{288636D8-101E-45EE-8302-DE42B27A7E98}" destId="{33B252B5-AE2A-44CA-B5BD-CE4C656E37C5}" srcOrd="2" destOrd="0" parTransId="{9191030F-ED87-459B-9BD0-D7F7257F9BCB}" sibTransId="{7F43610B-7BDA-4E72-BAAB-E86EABBD5400}"/>
    <dgm:cxn modelId="{C1BBF48C-70A9-4F46-84EA-FDD87F908CB8}" type="presOf" srcId="{8DFC3222-C241-4324-8FE8-CFFBD9DD57A9}" destId="{35DC07BD-53B6-41A1-B831-2FDCAB606694}" srcOrd="0" destOrd="0" presId="urn:microsoft.com/office/officeart/2005/8/layout/vList5"/>
    <dgm:cxn modelId="{6AA82CB8-9E5D-4598-8D4E-D3426085C8D9}" type="presOf" srcId="{29C18F27-3DE6-40E4-BA10-A44DB32CD859}" destId="{C307A7A3-986C-4302-8BEF-F7E167C8124B}" srcOrd="0" destOrd="0" presId="urn:microsoft.com/office/officeart/2005/8/layout/vList5"/>
    <dgm:cxn modelId="{F5ACDBB9-E5E0-4C64-8948-2D39F974C8A2}" type="presOf" srcId="{5A0975D3-1AB4-4309-81FE-3C42DBED5F4F}" destId="{EB683D65-E73F-4F47-AAD4-2BA5BF3DD389}" srcOrd="0" destOrd="0" presId="urn:microsoft.com/office/officeart/2005/8/layout/vList5"/>
    <dgm:cxn modelId="{02B94AC7-94EF-42CE-B90C-2F893DF030E6}" type="presOf" srcId="{2C54E197-EC2C-4027-B163-FB2F287037AF}" destId="{E19A5EAB-2BB5-4A72-9F43-4DA5BEE1B542}" srcOrd="0" destOrd="0" presId="urn:microsoft.com/office/officeart/2005/8/layout/vList5"/>
    <dgm:cxn modelId="{DA7FD3DF-8122-40E7-88F6-3CEE3B7A7448}" srcId="{288636D8-101E-45EE-8302-DE42B27A7E98}" destId="{8DFC3222-C241-4324-8FE8-CFFBD9DD57A9}" srcOrd="1" destOrd="0" parTransId="{11F24791-670A-4ADE-B90F-0034F3456DEA}" sibTransId="{D4FE4471-63CD-4345-ACA5-517110C00947}"/>
    <dgm:cxn modelId="{CAF30BF7-AAA4-4130-994C-2D31B6FB64DB}" srcId="{33B252B5-AE2A-44CA-B5BD-CE4C656E37C5}" destId="{8C12EC00-768F-433C-9AE3-A9041E8DEF8D}" srcOrd="0" destOrd="0" parTransId="{648C01DB-52C8-4A89-9637-E466464022AA}" sibTransId="{C1513633-841F-4C3D-81D9-F5A4B98EFDBE}"/>
    <dgm:cxn modelId="{ADA4D1D4-1978-4AD9-9CEE-6DC71FDE59EF}" type="presParOf" srcId="{F3DB99AE-6840-4818-875D-B22B8FC651A4}" destId="{070738C4-06D8-43C1-9524-1B43EFB9D85F}" srcOrd="0" destOrd="0" presId="urn:microsoft.com/office/officeart/2005/8/layout/vList5"/>
    <dgm:cxn modelId="{1814DB47-2453-46B7-B53C-0A5927A9C345}" type="presParOf" srcId="{070738C4-06D8-43C1-9524-1B43EFB9D85F}" destId="{C307A7A3-986C-4302-8BEF-F7E167C8124B}" srcOrd="0" destOrd="0" presId="urn:microsoft.com/office/officeart/2005/8/layout/vList5"/>
    <dgm:cxn modelId="{CE8E31F3-B9A7-4C97-8D63-B901EFF5E66E}" type="presParOf" srcId="{070738C4-06D8-43C1-9524-1B43EFB9D85F}" destId="{C3145125-A5EE-4CB8-9F01-BCEA4FFE5C85}" srcOrd="1" destOrd="0" presId="urn:microsoft.com/office/officeart/2005/8/layout/vList5"/>
    <dgm:cxn modelId="{758C4497-C8F8-48C8-B916-CB915E5E52E9}" type="presParOf" srcId="{F3DB99AE-6840-4818-875D-B22B8FC651A4}" destId="{D5DC3455-45CE-4D4F-9C9D-04FDCD87D8E8}" srcOrd="1" destOrd="0" presId="urn:microsoft.com/office/officeart/2005/8/layout/vList5"/>
    <dgm:cxn modelId="{BC45AEBF-37A6-4452-81E0-DC5D220F6D25}" type="presParOf" srcId="{F3DB99AE-6840-4818-875D-B22B8FC651A4}" destId="{BCBB2F0F-3E6A-4186-9FA5-185190A9A092}" srcOrd="2" destOrd="0" presId="urn:microsoft.com/office/officeart/2005/8/layout/vList5"/>
    <dgm:cxn modelId="{B91B3CD6-E143-4970-B1CB-662B4D059417}" type="presParOf" srcId="{BCBB2F0F-3E6A-4186-9FA5-185190A9A092}" destId="{35DC07BD-53B6-41A1-B831-2FDCAB606694}" srcOrd="0" destOrd="0" presId="urn:microsoft.com/office/officeart/2005/8/layout/vList5"/>
    <dgm:cxn modelId="{357CA1D3-64B3-4D82-A099-5BE8208277B2}" type="presParOf" srcId="{BCBB2F0F-3E6A-4186-9FA5-185190A9A092}" destId="{3EE71786-F4D1-4BAA-9B72-4A126A0FAAE7}" srcOrd="1" destOrd="0" presId="urn:microsoft.com/office/officeart/2005/8/layout/vList5"/>
    <dgm:cxn modelId="{6B140F76-3CBC-46E6-813F-B3D87D8730C8}" type="presParOf" srcId="{F3DB99AE-6840-4818-875D-B22B8FC651A4}" destId="{0F0908D9-7450-42F2-A9AE-A532870403CD}" srcOrd="3" destOrd="0" presId="urn:microsoft.com/office/officeart/2005/8/layout/vList5"/>
    <dgm:cxn modelId="{86FA2709-72E1-4B4B-BD70-D02C2419C71A}" type="presParOf" srcId="{F3DB99AE-6840-4818-875D-B22B8FC651A4}" destId="{1EF0E718-2090-45BF-9107-ECBC3A584E7B}" srcOrd="4" destOrd="0" presId="urn:microsoft.com/office/officeart/2005/8/layout/vList5"/>
    <dgm:cxn modelId="{660D8273-674F-4519-9A78-03E6A8BA7B3B}" type="presParOf" srcId="{1EF0E718-2090-45BF-9107-ECBC3A584E7B}" destId="{0376B70E-795A-436F-9DE4-7B7F78D01C66}" srcOrd="0" destOrd="0" presId="urn:microsoft.com/office/officeart/2005/8/layout/vList5"/>
    <dgm:cxn modelId="{3C77526C-3120-463D-94FD-F1D8E4E8BA82}" type="presParOf" srcId="{1EF0E718-2090-45BF-9107-ECBC3A584E7B}" destId="{6C714193-FC1E-4AD2-997B-BF98F8F18EE6}" srcOrd="1" destOrd="0" presId="urn:microsoft.com/office/officeart/2005/8/layout/vList5"/>
    <dgm:cxn modelId="{721D2AE1-3F82-4053-A411-11E3DECE31A3}" type="presParOf" srcId="{F3DB99AE-6840-4818-875D-B22B8FC651A4}" destId="{112C5348-B258-410D-9D31-61903DE8765A}" srcOrd="5" destOrd="0" presId="urn:microsoft.com/office/officeart/2005/8/layout/vList5"/>
    <dgm:cxn modelId="{5BD46F6B-4EF1-4FCB-9760-E0FF5D15E726}" type="presParOf" srcId="{F3DB99AE-6840-4818-875D-B22B8FC651A4}" destId="{8BBBDAAA-2999-4AFF-98F6-002B8D2CF229}" srcOrd="6" destOrd="0" presId="urn:microsoft.com/office/officeart/2005/8/layout/vList5"/>
    <dgm:cxn modelId="{54E743E1-8606-4622-8BE5-1878D06749DA}" type="presParOf" srcId="{8BBBDAAA-2999-4AFF-98F6-002B8D2CF229}" destId="{E19A5EAB-2BB5-4A72-9F43-4DA5BEE1B542}" srcOrd="0" destOrd="0" presId="urn:microsoft.com/office/officeart/2005/8/layout/vList5"/>
    <dgm:cxn modelId="{EFE0125A-C2FD-4B7C-9F08-1B420F8883A6}" type="presParOf" srcId="{8BBBDAAA-2999-4AFF-98F6-002B8D2CF229}" destId="{EB683D65-E73F-4F47-AAD4-2BA5BF3DD38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6A380C-6030-44D7-90C7-8B312F52B5E1}">
      <dsp:nvSpPr>
        <dsp:cNvPr id="0" name=""/>
        <dsp:cNvSpPr/>
      </dsp:nvSpPr>
      <dsp:spPr>
        <a:xfrm rot="5400000">
          <a:off x="618644" y="1231726"/>
          <a:ext cx="1923339" cy="23217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AE8C4A-F3D5-405E-ACCB-22CFEFEF8F2E}">
      <dsp:nvSpPr>
        <dsp:cNvPr id="0" name=""/>
        <dsp:cNvSpPr/>
      </dsp:nvSpPr>
      <dsp:spPr>
        <a:xfrm>
          <a:off x="1058664" y="661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kern="1200" dirty="0"/>
            <a:t>Collecting and analyzing </a:t>
          </a:r>
          <a:r>
            <a:rPr lang="en-US" sz="2100" b="1" kern="1200" dirty="0"/>
            <a:t>data</a:t>
          </a:r>
          <a:endParaRPr lang="en-US" sz="2100" kern="1200" dirty="0"/>
        </a:p>
      </dsp:txBody>
      <dsp:txXfrm>
        <a:off x="1103998" y="45995"/>
        <a:ext cx="2489019" cy="1457144"/>
      </dsp:txXfrm>
    </dsp:sp>
    <dsp:sp modelId="{F3BE8761-65ED-42F0-A68D-28CAE8732B46}">
      <dsp:nvSpPr>
        <dsp:cNvPr id="0" name=""/>
        <dsp:cNvSpPr/>
      </dsp:nvSpPr>
      <dsp:spPr>
        <a:xfrm rot="5400000">
          <a:off x="618644" y="3166491"/>
          <a:ext cx="1923339" cy="232171"/>
        </a:xfrm>
        <a:prstGeom prst="rect">
          <a:avLst/>
        </a:prstGeom>
        <a:solidFill>
          <a:schemeClr val="accent5">
            <a:hueOff val="-37451"/>
            <a:satOff val="-3004"/>
            <a:lumOff val="455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D84CA1-3138-4EAD-BF77-B8BC8A4EE717}">
      <dsp:nvSpPr>
        <dsp:cNvPr id="0" name=""/>
        <dsp:cNvSpPr/>
      </dsp:nvSpPr>
      <dsp:spPr>
        <a:xfrm>
          <a:off x="1058664" y="1935427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-29960"/>
            <a:satOff val="-2404"/>
            <a:lumOff val="3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kern="1200" dirty="0"/>
            <a:t>Identifying and describing </a:t>
          </a:r>
          <a:r>
            <a:rPr lang="en-US" sz="2100" b="1" kern="1200" dirty="0"/>
            <a:t>key issues</a:t>
          </a:r>
          <a:endParaRPr lang="en-US" sz="2100" kern="1200" dirty="0"/>
        </a:p>
      </dsp:txBody>
      <dsp:txXfrm>
        <a:off x="1103998" y="1980761"/>
        <a:ext cx="2489019" cy="1457144"/>
      </dsp:txXfrm>
    </dsp:sp>
    <dsp:sp modelId="{12886768-0617-4349-AF9B-98F1199A3A41}">
      <dsp:nvSpPr>
        <dsp:cNvPr id="0" name=""/>
        <dsp:cNvSpPr/>
      </dsp:nvSpPr>
      <dsp:spPr>
        <a:xfrm>
          <a:off x="1586027" y="4133874"/>
          <a:ext cx="3419558" cy="232171"/>
        </a:xfrm>
        <a:prstGeom prst="rect">
          <a:avLst/>
        </a:prstGeom>
        <a:solidFill>
          <a:schemeClr val="accent5">
            <a:hueOff val="-74901"/>
            <a:satOff val="-6009"/>
            <a:lumOff val="91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DB22A1-BC44-4B3A-A0BD-51E5A1FDDE3B}">
      <dsp:nvSpPr>
        <dsp:cNvPr id="0" name=""/>
        <dsp:cNvSpPr/>
      </dsp:nvSpPr>
      <dsp:spPr>
        <a:xfrm>
          <a:off x="1058664" y="3870192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-59921"/>
            <a:satOff val="-4807"/>
            <a:lumOff val="7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kern="1200" dirty="0"/>
            <a:t>Setting </a:t>
          </a:r>
          <a:r>
            <a:rPr lang="en-US" sz="2100" b="1" kern="1200" dirty="0"/>
            <a:t>priorities</a:t>
          </a:r>
          <a:r>
            <a:rPr lang="en-US" sz="2100" kern="1200" dirty="0"/>
            <a:t> and collecting </a:t>
          </a:r>
          <a:r>
            <a:rPr lang="en-US" sz="2100" b="1" kern="1200" dirty="0"/>
            <a:t>partner feedback</a:t>
          </a:r>
          <a:endParaRPr lang="en-US" sz="2100" kern="1200" dirty="0"/>
        </a:p>
      </dsp:txBody>
      <dsp:txXfrm>
        <a:off x="1103998" y="3915526"/>
        <a:ext cx="2489019" cy="1457144"/>
      </dsp:txXfrm>
    </dsp:sp>
    <dsp:sp modelId="{FC8F83C2-9B4E-4300-B031-303F48526180}">
      <dsp:nvSpPr>
        <dsp:cNvPr id="0" name=""/>
        <dsp:cNvSpPr/>
      </dsp:nvSpPr>
      <dsp:spPr>
        <a:xfrm rot="16200000">
          <a:off x="4049628" y="3166491"/>
          <a:ext cx="1923339" cy="232171"/>
        </a:xfrm>
        <a:prstGeom prst="rect">
          <a:avLst/>
        </a:prstGeom>
        <a:solidFill>
          <a:schemeClr val="accent5">
            <a:hueOff val="-112352"/>
            <a:satOff val="-9013"/>
            <a:lumOff val="1367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DE4277-D8C1-43ED-8C28-0A01E34A390E}">
      <dsp:nvSpPr>
        <dsp:cNvPr id="0" name=""/>
        <dsp:cNvSpPr/>
      </dsp:nvSpPr>
      <dsp:spPr>
        <a:xfrm>
          <a:off x="4489648" y="3870192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-89881"/>
            <a:satOff val="-7211"/>
            <a:lumOff val="109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kern="1200" dirty="0"/>
            <a:t>Selecting </a:t>
          </a:r>
          <a:r>
            <a:rPr lang="en-US" sz="2100" b="1" kern="1200" dirty="0"/>
            <a:t>core indicators</a:t>
          </a:r>
          <a:r>
            <a:rPr lang="en-US" sz="2100" kern="1200" dirty="0"/>
            <a:t> that represent the </a:t>
          </a:r>
          <a:r>
            <a:rPr lang="en-US" sz="2100" b="1" kern="1200" dirty="0"/>
            <a:t>selected priorities</a:t>
          </a:r>
          <a:endParaRPr lang="en-US" sz="2100" kern="1200" dirty="0"/>
        </a:p>
      </dsp:txBody>
      <dsp:txXfrm>
        <a:off x="4534982" y="3915526"/>
        <a:ext cx="2489019" cy="1457144"/>
      </dsp:txXfrm>
    </dsp:sp>
    <dsp:sp modelId="{F13C49E6-911B-4FF6-BEC2-E81D9CB4E76F}">
      <dsp:nvSpPr>
        <dsp:cNvPr id="0" name=""/>
        <dsp:cNvSpPr/>
      </dsp:nvSpPr>
      <dsp:spPr>
        <a:xfrm rot="16200000">
          <a:off x="4049628" y="1231726"/>
          <a:ext cx="1923339" cy="232171"/>
        </a:xfrm>
        <a:prstGeom prst="rect">
          <a:avLst/>
        </a:prstGeom>
        <a:solidFill>
          <a:schemeClr val="accent5">
            <a:hueOff val="-149802"/>
            <a:satOff val="-12018"/>
            <a:lumOff val="1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C92BDA-C358-49FE-BC55-89DA9034131B}">
      <dsp:nvSpPr>
        <dsp:cNvPr id="0" name=""/>
        <dsp:cNvSpPr/>
      </dsp:nvSpPr>
      <dsp:spPr>
        <a:xfrm>
          <a:off x="4489648" y="1935427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-119842"/>
            <a:satOff val="-9614"/>
            <a:lumOff val="14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b="1" kern="1200" dirty="0"/>
            <a:t>Documenting findings</a:t>
          </a:r>
          <a:r>
            <a:rPr lang="en-US" sz="2100" kern="1200" dirty="0"/>
            <a:t> in collaboration with contributors</a:t>
          </a:r>
        </a:p>
      </dsp:txBody>
      <dsp:txXfrm>
        <a:off x="4534982" y="1980761"/>
        <a:ext cx="2489019" cy="1457144"/>
      </dsp:txXfrm>
    </dsp:sp>
    <dsp:sp modelId="{FD983325-6C98-4E5C-9430-3F64C707E053}">
      <dsp:nvSpPr>
        <dsp:cNvPr id="0" name=""/>
        <dsp:cNvSpPr/>
      </dsp:nvSpPr>
      <dsp:spPr>
        <a:xfrm>
          <a:off x="4489648" y="661"/>
          <a:ext cx="2579687" cy="1547812"/>
        </a:xfrm>
        <a:prstGeom prst="roundRect">
          <a:avLst>
            <a:gd name="adj" fmla="val 10000"/>
          </a:avLst>
        </a:prstGeom>
        <a:solidFill>
          <a:schemeClr val="accent5">
            <a:hueOff val="-149802"/>
            <a:satOff val="-12018"/>
            <a:lumOff val="1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100" b="1" kern="1200" dirty="0"/>
            <a:t>Sharing</a:t>
          </a:r>
          <a:r>
            <a:rPr lang="en-US" sz="2100" kern="1200" dirty="0"/>
            <a:t> the State Health Assessment report with the public</a:t>
          </a:r>
        </a:p>
      </dsp:txBody>
      <dsp:txXfrm>
        <a:off x="4534982" y="45995"/>
        <a:ext cx="2489019" cy="14571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5A002B-3202-4D2D-BBC4-036F3E9F26BD}">
      <dsp:nvSpPr>
        <dsp:cNvPr id="0" name=""/>
        <dsp:cNvSpPr/>
      </dsp:nvSpPr>
      <dsp:spPr>
        <a:xfrm>
          <a:off x="2781299" y="2266729"/>
          <a:ext cx="2565400" cy="2565400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8 Joint Plans</a:t>
          </a:r>
        </a:p>
      </dsp:txBody>
      <dsp:txXfrm>
        <a:off x="3156993" y="2642423"/>
        <a:ext cx="1814012" cy="1814012"/>
      </dsp:txXfrm>
    </dsp:sp>
    <dsp:sp modelId="{7AB0581B-5F59-4C03-933B-B26E9B0B3A3F}">
      <dsp:nvSpPr>
        <dsp:cNvPr id="0" name=""/>
        <dsp:cNvSpPr/>
      </dsp:nvSpPr>
      <dsp:spPr>
        <a:xfrm rot="12900000">
          <a:off x="1038216" y="1787538"/>
          <a:ext cx="2063257" cy="731139"/>
        </a:xfrm>
        <a:prstGeom prst="leftArrow">
          <a:avLst>
            <a:gd name="adj1" fmla="val 60000"/>
            <a:gd name="adj2" fmla="val 50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6490D9-07BF-4A8B-8E28-299D59ADEDAC}">
      <dsp:nvSpPr>
        <dsp:cNvPr id="0" name=""/>
        <dsp:cNvSpPr/>
      </dsp:nvSpPr>
      <dsp:spPr>
        <a:xfrm>
          <a:off x="6219" y="586537"/>
          <a:ext cx="2437130" cy="1949704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34 Local Health Departments</a:t>
          </a:r>
        </a:p>
      </dsp:txBody>
      <dsp:txXfrm>
        <a:off x="63324" y="643642"/>
        <a:ext cx="2322920" cy="1835494"/>
      </dsp:txXfrm>
    </dsp:sp>
    <dsp:sp modelId="{49563640-D863-4895-8B89-D4F3F175CE38}">
      <dsp:nvSpPr>
        <dsp:cNvPr id="0" name=""/>
        <dsp:cNvSpPr/>
      </dsp:nvSpPr>
      <dsp:spPr>
        <a:xfrm rot="19500000">
          <a:off x="5026525" y="1787538"/>
          <a:ext cx="2063257" cy="731139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-149802"/>
            <a:satOff val="-12018"/>
            <a:lumOff val="1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6BBDA4-ACED-4F1A-8972-B951491AE9E0}">
      <dsp:nvSpPr>
        <dsp:cNvPr id="0" name=""/>
        <dsp:cNvSpPr/>
      </dsp:nvSpPr>
      <dsp:spPr>
        <a:xfrm>
          <a:off x="5684650" y="586537"/>
          <a:ext cx="2437130" cy="1949704"/>
        </a:xfrm>
        <a:prstGeom prst="roundRect">
          <a:avLst>
            <a:gd name="adj" fmla="val 10000"/>
          </a:avLst>
        </a:prstGeom>
        <a:solidFill>
          <a:schemeClr val="accent5">
            <a:hueOff val="-149802"/>
            <a:satOff val="-12018"/>
            <a:lumOff val="1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70 Hospitals</a:t>
          </a:r>
        </a:p>
      </dsp:txBody>
      <dsp:txXfrm>
        <a:off x="5741755" y="643642"/>
        <a:ext cx="2322920" cy="18354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145125-A5EE-4CB8-9F01-BCEA4FFE5C85}">
      <dsp:nvSpPr>
        <dsp:cNvPr id="0" name=""/>
        <dsp:cNvSpPr/>
      </dsp:nvSpPr>
      <dsp:spPr>
        <a:xfrm rot="5400000">
          <a:off x="6728629" y="-3086640"/>
          <a:ext cx="926644" cy="7336403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2400" kern="1200" dirty="0"/>
        </a:p>
      </dsp:txBody>
      <dsp:txXfrm rot="-5400000">
        <a:off x="3523750" y="163474"/>
        <a:ext cx="7291168" cy="836174"/>
      </dsp:txXfrm>
    </dsp:sp>
    <dsp:sp modelId="{C307A7A3-986C-4302-8BEF-F7E167C8124B}">
      <dsp:nvSpPr>
        <dsp:cNvPr id="0" name=""/>
        <dsp:cNvSpPr/>
      </dsp:nvSpPr>
      <dsp:spPr>
        <a:xfrm>
          <a:off x="602976" y="2408"/>
          <a:ext cx="2920773" cy="1158305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+mn-lt"/>
            </a:rPr>
            <a:t>Community Health Improvement </a:t>
          </a:r>
        </a:p>
      </dsp:txBody>
      <dsp:txXfrm>
        <a:off x="659520" y="58952"/>
        <a:ext cx="2807685" cy="1045217"/>
      </dsp:txXfrm>
    </dsp:sp>
    <dsp:sp modelId="{3EE71786-F4D1-4BAA-9B72-4A126A0FAAE7}">
      <dsp:nvSpPr>
        <dsp:cNvPr id="0" name=""/>
        <dsp:cNvSpPr/>
      </dsp:nvSpPr>
      <dsp:spPr>
        <a:xfrm rot="5400000">
          <a:off x="6728629" y="-1870420"/>
          <a:ext cx="926644" cy="7336403"/>
        </a:xfrm>
        <a:prstGeom prst="round2SameRect">
          <a:avLst/>
        </a:prstGeom>
        <a:solidFill>
          <a:schemeClr val="accent5">
            <a:tint val="40000"/>
            <a:alpha val="90000"/>
            <a:hueOff val="-11381"/>
            <a:satOff val="2821"/>
            <a:lumOff val="87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1381"/>
              <a:satOff val="2821"/>
              <a:lumOff val="8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690" tIns="93345" rIns="186690" bIns="93345" numCol="1" spcCol="1270" anchor="ctr" anchorCtr="0">
          <a:noAutofit/>
        </a:bodyPr>
        <a:lstStyle/>
        <a:p>
          <a:pPr marL="285750" lvl="1" indent="-285750" algn="l" defTabSz="21780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endParaRPr lang="en-US" sz="4900" b="0" kern="1200" dirty="0"/>
        </a:p>
      </dsp:txBody>
      <dsp:txXfrm rot="-5400000">
        <a:off x="3523750" y="1379694"/>
        <a:ext cx="7291168" cy="836174"/>
      </dsp:txXfrm>
    </dsp:sp>
    <dsp:sp modelId="{35DC07BD-53B6-41A1-B831-2FDCAB606694}">
      <dsp:nvSpPr>
        <dsp:cNvPr id="0" name=""/>
        <dsp:cNvSpPr/>
      </dsp:nvSpPr>
      <dsp:spPr>
        <a:xfrm>
          <a:off x="602976" y="1218628"/>
          <a:ext cx="2920773" cy="1158305"/>
        </a:xfrm>
        <a:prstGeom prst="roundRect">
          <a:avLst/>
        </a:prstGeom>
        <a:solidFill>
          <a:schemeClr val="accent5">
            <a:hueOff val="-49934"/>
            <a:satOff val="-4006"/>
            <a:lumOff val="60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000" b="1" kern="1200" dirty="0">
              <a:latin typeface="+mn-lt"/>
            </a:rPr>
            <a:t>Certificate of Need (CON) ​Applications</a:t>
          </a:r>
        </a:p>
      </dsp:txBody>
      <dsp:txXfrm>
        <a:off x="659520" y="1275172"/>
        <a:ext cx="2807685" cy="1045217"/>
      </dsp:txXfrm>
    </dsp:sp>
    <dsp:sp modelId="{6C714193-FC1E-4AD2-997B-BF98F8F18EE6}">
      <dsp:nvSpPr>
        <dsp:cNvPr id="0" name=""/>
        <dsp:cNvSpPr/>
      </dsp:nvSpPr>
      <dsp:spPr>
        <a:xfrm rot="5400000">
          <a:off x="6728629" y="-654199"/>
          <a:ext cx="926644" cy="7336403"/>
        </a:xfrm>
        <a:prstGeom prst="round2SameRect">
          <a:avLst/>
        </a:prstGeom>
        <a:solidFill>
          <a:schemeClr val="accent5">
            <a:tint val="40000"/>
            <a:alpha val="90000"/>
            <a:hueOff val="-22761"/>
            <a:satOff val="5643"/>
            <a:lumOff val="174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22761"/>
              <a:satOff val="5643"/>
              <a:lumOff val="17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690" tIns="93345" rIns="186690" bIns="93345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None/>
          </a:pPr>
          <a:endParaRPr lang="en-US" sz="2400" b="0" kern="1200" dirty="0"/>
        </a:p>
      </dsp:txBody>
      <dsp:txXfrm rot="-5400000">
        <a:off x="3523750" y="2595915"/>
        <a:ext cx="7291168" cy="836174"/>
      </dsp:txXfrm>
    </dsp:sp>
    <dsp:sp modelId="{0376B70E-795A-436F-9DE4-7B7F78D01C66}">
      <dsp:nvSpPr>
        <dsp:cNvPr id="0" name=""/>
        <dsp:cNvSpPr/>
      </dsp:nvSpPr>
      <dsp:spPr>
        <a:xfrm>
          <a:off x="602976" y="2434849"/>
          <a:ext cx="2920773" cy="1158305"/>
        </a:xfrm>
        <a:prstGeom prst="roundRect">
          <a:avLst/>
        </a:prstGeom>
        <a:solidFill>
          <a:schemeClr val="accent5">
            <a:hueOff val="-99868"/>
            <a:satOff val="-8012"/>
            <a:lumOff val="1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2000" b="1" kern="1200" dirty="0">
              <a:latin typeface="+mn-lt"/>
            </a:rPr>
            <a:t>Hospitals’ Community Benefit Spending</a:t>
          </a:r>
        </a:p>
      </dsp:txBody>
      <dsp:txXfrm>
        <a:off x="659520" y="2491393"/>
        <a:ext cx="2807685" cy="1045217"/>
      </dsp:txXfrm>
    </dsp:sp>
    <dsp:sp modelId="{EB683D65-E73F-4F47-AAD4-2BA5BF3DD389}">
      <dsp:nvSpPr>
        <dsp:cNvPr id="0" name=""/>
        <dsp:cNvSpPr/>
      </dsp:nvSpPr>
      <dsp:spPr>
        <a:xfrm rot="5400000">
          <a:off x="6728629" y="562020"/>
          <a:ext cx="926644" cy="7336403"/>
        </a:xfrm>
        <a:prstGeom prst="round2SameRect">
          <a:avLst/>
        </a:prstGeom>
        <a:solidFill>
          <a:schemeClr val="accent5">
            <a:tint val="40000"/>
            <a:alpha val="90000"/>
            <a:hueOff val="-34142"/>
            <a:satOff val="8464"/>
            <a:lumOff val="2612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34142"/>
              <a:satOff val="8464"/>
              <a:lumOff val="26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690" tIns="93345" rIns="186690" bIns="93345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None/>
          </a:pPr>
          <a:endParaRPr lang="en-US" sz="2400" kern="1200" dirty="0"/>
        </a:p>
      </dsp:txBody>
      <dsp:txXfrm rot="-5400000">
        <a:off x="3523750" y="3812135"/>
        <a:ext cx="7291168" cy="836174"/>
      </dsp:txXfrm>
    </dsp:sp>
    <dsp:sp modelId="{E19A5EAB-2BB5-4A72-9F43-4DA5BEE1B542}">
      <dsp:nvSpPr>
        <dsp:cNvPr id="0" name=""/>
        <dsp:cNvSpPr/>
      </dsp:nvSpPr>
      <dsp:spPr>
        <a:xfrm>
          <a:off x="602976" y="3651069"/>
          <a:ext cx="2920773" cy="1158305"/>
        </a:xfrm>
        <a:prstGeom prst="roundRect">
          <a:avLst/>
        </a:prstGeom>
        <a:solidFill>
          <a:schemeClr val="accent5">
            <a:hueOff val="-149802"/>
            <a:satOff val="-12018"/>
            <a:lumOff val="1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+mn-lt"/>
            </a:rPr>
            <a:t>Interagency Collaboration</a:t>
          </a:r>
        </a:p>
      </dsp:txBody>
      <dsp:txXfrm>
        <a:off x="659520" y="3707613"/>
        <a:ext cx="2807685" cy="10452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5B494F2-8995-D18B-1CA6-451B93FB31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C7CF02-06EB-9DEE-F1F6-C7DDC3BB81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7B6068-8F58-CBBA-084E-D40B565F5D1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2CCF59-483D-4767-BE89-482F622EFA7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639891-C708-8889-4ADC-5A75C4637F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2D863E5-5A18-2144-A740-7DE2BA8DED4B}" type="datetimeFigureOut">
              <a:rPr lang="en-US" smtClean="0"/>
              <a:t>2/18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741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8835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11B39-4E33-D577-63E5-2C4CD4955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06ECB0-AB9D-A664-3A0F-38B79FBF0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321D12-B076-B80D-C0B3-909273A48B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20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387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5421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92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337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0289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8849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9448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7920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819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307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0368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 fontAlgn="base">
              <a:buNone/>
            </a:pPr>
            <a:endParaRPr lang="en-US" sz="1800">
              <a:latin typeface="Calibri" panose="020F0502020204030204" pitchFamily="34" charset="0"/>
              <a:cs typeface="Calibri"/>
            </a:endParaRPr>
          </a:p>
          <a:p>
            <a:pPr marL="164355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2830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3 LHD</a:t>
            </a:r>
          </a:p>
          <a:p>
            <a:pPr algn="l"/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 74 Hospitals </a:t>
            </a:r>
          </a:p>
          <a:p>
            <a:endParaRPr lang="en-US" dirty="0"/>
          </a:p>
          <a:p>
            <a:r>
              <a:rPr lang="en-US" dirty="0"/>
              <a:t>list of counties (n=5) without a hospital  </a:t>
            </a:r>
          </a:p>
          <a:p>
            <a:pPr lvl="0"/>
            <a:r>
              <a:rPr lang="en-US" b="1" dirty="0"/>
              <a:t>Greene County</a:t>
            </a:r>
            <a:endParaRPr lang="en-US" dirty="0"/>
          </a:p>
          <a:p>
            <a:pPr lvl="0"/>
            <a:r>
              <a:rPr lang="en-US" b="1" dirty="0"/>
              <a:t>Hamilton County</a:t>
            </a:r>
            <a:endParaRPr lang="en-US" dirty="0"/>
          </a:p>
          <a:p>
            <a:pPr lvl="0"/>
            <a:r>
              <a:rPr lang="en-US" b="1" dirty="0"/>
              <a:t>Seneca County</a:t>
            </a:r>
            <a:endParaRPr lang="en-US" dirty="0"/>
          </a:p>
          <a:p>
            <a:pPr lvl="0"/>
            <a:r>
              <a:rPr lang="en-US" b="1" dirty="0"/>
              <a:t>Tioga County</a:t>
            </a:r>
            <a:endParaRPr lang="en-US" dirty="0"/>
          </a:p>
          <a:p>
            <a:pPr lvl="0"/>
            <a:r>
              <a:rPr lang="en-US" b="1" dirty="0"/>
              <a:t>Washington County</a:t>
            </a:r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fld id="{5035264E-AE54-4FFD-9C62-C1A85CBF08D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757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D78B4-185E-EE5C-8999-7AF30C730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F20D24-A509-3FA2-7136-4C92EDC698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A58B-422C-E4BD-E156-999EFF67E3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of February 1</a:t>
            </a:r>
            <a:r>
              <a:rPr lang="en-US" b="1" i="1" baseline="3000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</a:t>
            </a:r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026</a:t>
            </a:r>
          </a:p>
          <a:p>
            <a:pPr algn="l"/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E WE ARE NOT CONSOLIDATING INTO SYSTEMS AS WE DID IN PRIOR SLIDE FOR THIS SUMMARY</a:t>
            </a:r>
          </a:p>
          <a:p>
            <a:pPr algn="l"/>
            <a:endParaRPr lang="en-US" b="1" i="1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l"/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 LHDs were allowed extensions</a:t>
            </a:r>
          </a:p>
          <a:p>
            <a:pPr algn="l"/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2% of LHDs already submitted both CHA and CHIP!!!!</a:t>
            </a:r>
          </a:p>
          <a:p>
            <a:pPr algn="l"/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61766" indent="0">
              <a:buNone/>
            </a:pPr>
            <a:endParaRPr lang="en-US" b="1" i="1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l"/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rease </a:t>
            </a:r>
            <a:r>
              <a:rPr lang="en-US" b="1" i="1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 10 </a:t>
            </a:r>
            <a:r>
              <a:rPr lang="en-US" b="1" i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oint plans from prior cycle – LHD to Hospital cycle alignment issue</a:t>
            </a:r>
          </a:p>
          <a:p>
            <a:pPr algn="l"/>
            <a:endParaRPr lang="en-US" dirty="0"/>
          </a:p>
          <a:p>
            <a:pPr marL="161766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1C0B16-B496-0D1F-7FC3-68F6F141C9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fld id="{5035264E-AE54-4FFD-9C62-C1A85CBF08D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154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9376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6179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392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9343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blic Health Contractors – Contracts &amp; Services specific to topic and county, “List of Resources” as required in SHA/PHAB, etc.</a:t>
            </a:r>
          </a:p>
          <a:p>
            <a:r>
              <a:rPr lang="en-US" dirty="0"/>
              <a:t>         Office of Science typically updates every 2-3 years working across DOH Programs to identif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fld id="{5035264E-AE54-4FFD-9C62-C1A85CBF08D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5055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09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314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nguages for NYS based on OGS web page, and US Census 2020 American Community Survey 5 year estimate</a:t>
            </a:r>
          </a:p>
        </p:txBody>
      </p:sp>
    </p:spTree>
    <p:extLst>
      <p:ext uri="{BB962C8B-B14F-4D97-AF65-F5344CB8AC3E}">
        <p14:creationId xmlns:p14="http://schemas.microsoft.com/office/powerpoint/2010/main" val="215256550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’s the point of these general information/educational tools – to connect more partners to the planning and implementation effort</a:t>
            </a:r>
          </a:p>
        </p:txBody>
      </p:sp>
    </p:spTree>
    <p:extLst>
      <p:ext uri="{BB962C8B-B14F-4D97-AF65-F5344CB8AC3E}">
        <p14:creationId xmlns:p14="http://schemas.microsoft.com/office/powerpoint/2010/main" val="20527634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602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C2ABD-829D-74DA-8F2B-98030D7DC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A380F8-46C5-2627-341B-A529A6D60B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FE9A32-385E-313F-ED80-A7B2D20484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r>
              <a:rPr lang="en-US" dirty="0"/>
              <a:t> </a:t>
            </a:r>
          </a:p>
          <a:p>
            <a:pPr marL="161766" indent="0">
              <a:buNone/>
            </a:pPr>
            <a:r>
              <a:rPr lang="en-US" dirty="0"/>
              <a:t>So sorry – last week turned into one of those weeks. </a:t>
            </a:r>
          </a:p>
          <a:p>
            <a:pPr marL="161766" indent="0">
              <a:buNone/>
            </a:pPr>
            <a:r>
              <a:rPr lang="en-US" dirty="0"/>
              <a:t> </a:t>
            </a:r>
          </a:p>
          <a:p>
            <a:pPr marL="161766" indent="0">
              <a:buNone/>
            </a:pPr>
            <a:r>
              <a:rPr lang="en-US" dirty="0"/>
              <a:t>In response to your questions:</a:t>
            </a:r>
          </a:p>
          <a:p>
            <a:pPr marL="161766" indent="0">
              <a:buNone/>
            </a:pPr>
            <a:r>
              <a:rPr lang="en-US" dirty="0"/>
              <a:t>At the last meeting we had </a:t>
            </a:r>
            <a:r>
              <a:rPr lang="en-US" b="1" dirty="0"/>
              <a:t>roughly 12 agencies represented</a:t>
            </a:r>
            <a:r>
              <a:rPr lang="en-US" dirty="0"/>
              <a:t>. I believe we were missing our colleagues from NYSOFA unless I missed a name. </a:t>
            </a:r>
          </a:p>
          <a:p>
            <a:pPr marL="161766" indent="0">
              <a:buNone/>
            </a:pPr>
            <a:r>
              <a:rPr lang="en-US" dirty="0"/>
              <a:t>The group that we are shifting focus to is the: </a:t>
            </a:r>
            <a:r>
              <a:rPr lang="en-US" b="1" dirty="0"/>
              <a:t>Workforce Diversity and Inclusion Advisory Council comprised of Diversity and Inclusion Liaisons in the different State Agencies. </a:t>
            </a:r>
          </a:p>
          <a:p>
            <a:pPr marL="161766" indent="0">
              <a:buNone/>
            </a:pPr>
            <a:r>
              <a:rPr lang="en-US" dirty="0"/>
              <a:t> </a:t>
            </a:r>
          </a:p>
          <a:p>
            <a:pPr marL="161766" indent="0">
              <a:buNone/>
            </a:pPr>
            <a:r>
              <a:rPr lang="en-US" dirty="0"/>
              <a:t>Let me know if there is anything else I can assist with!  Best, Kacey</a:t>
            </a:r>
          </a:p>
        </p:txBody>
      </p:sp>
    </p:spTree>
    <p:extLst>
      <p:ext uri="{BB962C8B-B14F-4D97-AF65-F5344CB8AC3E}">
        <p14:creationId xmlns:p14="http://schemas.microsoft.com/office/powerpoint/2010/main" val="224559005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66041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593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8489" tIns="49245" rIns="98489" bIns="49245"/>
          <a:lstStyle/>
          <a:p>
            <a:fld id="{F6DA9C80-B631-4EC4-8253-F63CFD0157DF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7B97CA-4B23-011C-D5F4-A7DECD3292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 lIns="98489" tIns="49245" rIns="98489" bIns="49245"/>
          <a:lstStyle/>
          <a:p>
            <a:r>
              <a:rPr lang="en-US"/>
              <a:t>Use Data to Identify Disparities Across Patient Groups https://www.jointcommission.org/our-priorities/health-care-equity/accreditation-resource-center/use-data-to-identify-disparities-across-patient-groups/#t=_StrategiesTab&amp;sort=%40created%20descending</a:t>
            </a: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9B9D05-2F56-8281-01E3-3ED6A456C8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endParaRPr lang="en-US" sz="18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556373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772B7-56C9-01A0-3B3F-6D9C1E350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C5D615-1E30-6021-18F6-A3B1DDE954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FF8C0A-5349-8D36-795B-44471AFE2D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33027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486AF-7F78-AE9E-B327-67D560626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348BBB-C3A2-91D3-27BD-E80C730B02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CD27AD-7CC8-095E-C1D5-00A3E4AA10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lIns="98489" tIns="49245" rIns="98489" bIns="49245"/>
          <a:lstStyle/>
          <a:p>
            <a:fld id="{F6DA9C80-B631-4EC4-8253-F63CFD0157DF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ECFF51-BD64-3CB1-386C-8F48F5BA115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 lIns="98489" tIns="49245" rIns="98489" bIns="49245"/>
          <a:lstStyle/>
          <a:p>
            <a:r>
              <a:rPr lang="en-US"/>
              <a:t>Use Data to Identify Disparities Across Patient Groups https://www.jointcommission.org/our-priorities/health-care-equity/accreditation-resource-center/use-data-to-identify-disparities-across-patient-groups/#t=_StrategiesTab&amp;sort=%40created%20descending</a:t>
            </a: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9D17A3-985F-3C9B-AD05-DE47770661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endParaRPr lang="en-US"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695055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endParaRPr lang="en-US" sz="18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8954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206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60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847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22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74D97E-55D4-8589-80DD-897710991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C7B0C1-B968-95CB-9098-3CF0889600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26547C-255E-DE07-3DAE-F19CB1AF56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lIns="98489" tIns="49245" rIns="98489" bIns="49245"/>
          <a:lstStyle/>
          <a:p>
            <a:fld id="{F6DA9C80-B631-4EC4-8253-F63CFD0157DF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7188A2-8B0C-208C-3987-8ED1FFD7360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 lIns="98489" tIns="49245" rIns="98489" bIns="49245"/>
          <a:lstStyle/>
          <a:p>
            <a:r>
              <a:rPr lang="en-US"/>
              <a:t>Use Data to Identify Disparities Across Patient Groups https://www.jointcommission.org/our-priorities/health-care-equity/accreditation-resource-center/use-data-to-identify-disparities-across-patient-groups/#t=_StrategiesTab&amp;sort=%40created%20descending</a:t>
            </a: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0BD8F-CC67-ECC8-1289-95133A82C4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endParaRPr lang="en-US" sz="18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10061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CEFD07-8306-A381-7461-7EBFE13A7C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73E686-6EE4-8D14-19D6-51BC156FD5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B83254-D240-F096-619E-7794178CFF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1766" indent="0">
              <a:buNone/>
            </a:pPr>
            <a:endParaRPr lang="en-US" sz="18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81568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Primary Cover Title Slide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pic>
        <p:nvPicPr>
          <p:cNvPr id="15" name="Picture 14" descr="New York State Department of Health logo - it's an outline of the New York State border, with the text &quot;New York State&quot;, a vertical bar to the right, then the words &quot;Department of Health.&quot;">
            <a:extLst>
              <a:ext uri="{FF2B5EF4-FFF2-40B4-BE49-F238E27FC236}">
                <a16:creationId xmlns:a16="http://schemas.microsoft.com/office/drawing/2014/main" id="{749032B6-4E64-2FCD-C040-E8B731E9F8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83502" y="575817"/>
            <a:ext cx="4824994" cy="122834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99468DBB-F7CC-E8EE-23D3-F5BCCD99EE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1399636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Data Slide, Three Colors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9E7452-B69C-5209-DB6E-F7804A3BE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0734FDC5-AA19-BE90-0AFE-4EFE2A439F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007" y="1385507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2973299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0" name="Picture 9" descr="A close-up of a logo&#10;&#10;Description automatically generated">
            <a:extLst>
              <a:ext uri="{FF2B5EF4-FFF2-40B4-BE49-F238E27FC236}">
                <a16:creationId xmlns:a16="http://schemas.microsoft.com/office/drawing/2014/main" id="{8F3EC1A8-6DCC-13F7-E2BB-EF325AC9B1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D7BF59E1-ED0E-D012-5AA3-12A7070DF4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35353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ctr"/>
          <a:lstStyle>
            <a:lvl1pPr algn="l">
              <a:defRPr sz="32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1" name="Picture 10" descr="A close-up of a logo&#10;&#10;Description automatically generated">
            <a:extLst>
              <a:ext uri="{FF2B5EF4-FFF2-40B4-BE49-F238E27FC236}">
                <a16:creationId xmlns:a16="http://schemas.microsoft.com/office/drawing/2014/main" id="{79733C56-727C-F110-330E-41677DCE28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3BE43749-E5C8-2610-D28E-3AB442F2A8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12712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6A5DFFD8-2BD3-1075-5D40-1C3777849E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279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80533"/>
            <a:ext cx="3667125" cy="5120217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7A2EC31F-F226-30BB-CA9A-30BBA6DF2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7605" y="5994897"/>
            <a:ext cx="3131522" cy="546513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99141BB1-831F-D1C5-28AD-9C5224D6F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24539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DCD90C3C-3EE8-27A1-E62A-EEB7ED624E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0E72DE5-733A-3ADD-CC68-F01B6B7881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80533"/>
            <a:ext cx="3667125" cy="5120217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A52FF91C-31D5-6BF2-3CD5-59A13AEA7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49235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E9A5D46E-78E5-A6DA-207F-ADB45A4A2D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F67320E8-5D9F-2562-87AC-C1F42D1A3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007" y="1375016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3791837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7" name="Picture 6" descr="A close-up of a sign&#10;&#10;Description automatically generated">
            <a:extLst>
              <a:ext uri="{FF2B5EF4-FFF2-40B4-BE49-F238E27FC236}">
                <a16:creationId xmlns:a16="http://schemas.microsoft.com/office/drawing/2014/main" id="{84052C38-EA2D-3BC1-C06D-2AB0BC00ED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391260" y="5960351"/>
            <a:ext cx="3492455" cy="609503"/>
          </a:xfrm>
          <a:prstGeom prst="rect">
            <a:avLst/>
          </a:prstGeom>
        </p:spPr>
      </p:pic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DD5D3D72-BD1C-7ADC-4D2F-F25979C21B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6773333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347626030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237AA9E-FEC1-C576-C9D2-179F13387E76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2" name="Freeform 58" descr="Quote bubble background; mostly decorative.">
              <a:extLst>
                <a:ext uri="{FF2B5EF4-FFF2-40B4-BE49-F238E27FC236}">
                  <a16:creationId xmlns:a16="http://schemas.microsoft.com/office/drawing/2014/main" id="{210B3537-2388-E8E7-D248-C9D60F61D365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Speech Bubble: Oval 6">
              <a:extLst>
                <a:ext uri="{FF2B5EF4-FFF2-40B4-BE49-F238E27FC236}">
                  <a16:creationId xmlns:a16="http://schemas.microsoft.com/office/drawing/2014/main" id="{27BCC51F-A75E-1A92-E7B2-C9529670324F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4" name="Picture 3" descr="A close-up of a sign&#10;&#10;Description automatically generated">
            <a:extLst>
              <a:ext uri="{FF2B5EF4-FFF2-40B4-BE49-F238E27FC236}">
                <a16:creationId xmlns:a16="http://schemas.microsoft.com/office/drawing/2014/main" id="{CE959B47-0891-F49D-CA6E-908A586B29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391260" y="5960351"/>
            <a:ext cx="3492455" cy="60950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54B8075-125B-890B-2056-067875F9F0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6773333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13767830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2D97B542-4B30-37A2-00A4-171038D57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3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close-up of a sign&#10;&#10;Description automatically generated">
            <a:extLst>
              <a:ext uri="{FF2B5EF4-FFF2-40B4-BE49-F238E27FC236}">
                <a16:creationId xmlns:a16="http://schemas.microsoft.com/office/drawing/2014/main" id="{46C2E249-B40B-EBE7-ABD0-AD3CB62F558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31589" y="2648285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5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Quote Definition, Light Purple on Dark Purple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8197A22-F271-BD09-6597-EAB2F77FF1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7238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7F7A2A-799B-7AAF-10BE-521BBCE43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9744533" y="6019245"/>
            <a:ext cx="2116488" cy="53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221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Quote Definition, Dark Purple on Light Purple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DEE5608-FF7D-4440-211A-F41AE8F2D938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6" name="Freeform 58" descr="Quote bubble background; mostly decorative.">
              <a:extLst>
                <a:ext uri="{FF2B5EF4-FFF2-40B4-BE49-F238E27FC236}">
                  <a16:creationId xmlns:a16="http://schemas.microsoft.com/office/drawing/2014/main" id="{51A47776-129B-84AF-C626-0C54DF78A110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Speech Bubble: Oval 6">
              <a:extLst>
                <a:ext uri="{FF2B5EF4-FFF2-40B4-BE49-F238E27FC236}">
                  <a16:creationId xmlns:a16="http://schemas.microsoft.com/office/drawing/2014/main" id="{DB4B7F0B-4190-8F3D-E045-22DA5B5F463D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1E8377-BB98-9774-A2B1-BB194173FC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9744533" y="6019245"/>
            <a:ext cx="2116488" cy="538815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22D6699-5A07-E226-5BE2-9E3170B145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7238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633482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Basic White, No Bann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A698D5-E895-7B7C-4A0D-BBEFE3298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8817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8" name="Picture 7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CA0F020E-D83F-37CB-4393-9D6659209FC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83503" y="2681389"/>
            <a:ext cx="4824994" cy="12283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884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9E7452-B69C-5209-DB6E-F7804A3BE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C8898BF1-0287-9BD1-9B1A-99CA5178F8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3244" y="1117739"/>
            <a:ext cx="11551787" cy="47243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2400" b="0">
                <a:solidFill>
                  <a:srgbClr val="000000"/>
                </a:solidFill>
              </a:defRPr>
            </a:lvl1pPr>
            <a:lvl2pPr marL="434340" indent="-17373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</a:defRPr>
            </a:lvl2pPr>
            <a:lvl3pPr marL="891540" indent="-3429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4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07941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16EAD9-73FF-4277-9219-CD7150A44A1E}" type="datetime1">
              <a:rPr lang="en-US" smtClean="0"/>
              <a:t>2/18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8456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ED49C-DA91-4E57-8807-DB02525E2A23}" type="datetime1">
              <a:rPr lang="en-US" smtClean="0"/>
              <a:t>2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041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82599"/>
            <a:ext cx="10972800" cy="935567"/>
          </a:xfrm>
        </p:spPr>
        <p:txBody>
          <a:bodyPr>
            <a:normAutofit/>
          </a:bodyPr>
          <a:lstStyle>
            <a:lvl1pPr>
              <a:defRPr sz="3733" b="1">
                <a:solidFill>
                  <a:srgbClr val="002D7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133">
                <a:latin typeface="+mn-lt"/>
              </a:defRPr>
            </a:lvl1pPr>
            <a:lvl2pPr>
              <a:defRPr sz="2133">
                <a:latin typeface="+mn-lt"/>
              </a:defRPr>
            </a:lvl2pPr>
            <a:lvl3pPr>
              <a:defRPr sz="2133">
                <a:latin typeface="+mn-lt"/>
              </a:defRPr>
            </a:lvl3pPr>
            <a:lvl4pPr>
              <a:defRPr sz="2133">
                <a:latin typeface="+mn-lt"/>
              </a:defRPr>
            </a:lvl4pPr>
            <a:lvl5pPr>
              <a:defRPr sz="21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7DEE13-25F7-48E5-8151-DF3F93431CFF}" type="datetime1">
              <a:rPr lang="en-US" smtClean="0"/>
              <a:t>2/18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186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94B27-EF43-7B33-C87B-2D8DF2D366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3E87B6-0D32-04FE-43BA-346851D417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848AA3-36A2-3623-A809-803D3C68A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6D9AF-53F3-42BC-AA92-EFB92F769AF2}" type="datetimeFigureOut">
              <a:rPr lang="en-US" smtClean="0"/>
              <a:t>2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0D61B0-49BE-9B99-553B-4A0854FC5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68C84E-FC6A-D973-20F2-738B6E052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67F6B-C9C3-45BC-9AB8-0BBD5998A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50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4E7E77-415F-0F44-10BD-FF1E262CA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80000"/>
          </a:blip>
          <a:stretch>
            <a:fillRect/>
          </a:stretch>
        </p:blipFill>
        <p:spPr>
          <a:xfrm>
            <a:off x="324478" y="6000748"/>
            <a:ext cx="2119163" cy="5394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71274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2EEBCCE-5FD9-F330-20A6-C5A70F259B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9647" y="351846"/>
            <a:ext cx="7632700" cy="1714500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865282FE-485E-236E-423B-3870BBB671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36350941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768496A-488C-2222-85CE-F7B8225DB3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184318" y="5903844"/>
            <a:ext cx="3256617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53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E67AE54-C5C7-E329-FF9B-203DDEDF5E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184318" y="5903844"/>
            <a:ext cx="3256617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32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5" name="Picture 4" descr="A close-up of a logo&#10;&#10;Description automatically generated">
            <a:extLst>
              <a:ext uri="{FF2B5EF4-FFF2-40B4-BE49-F238E27FC236}">
                <a16:creationId xmlns:a16="http://schemas.microsoft.com/office/drawing/2014/main" id="{1E2885BA-ED73-5211-1988-176B15F2F5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D36DE8D0-0806-E863-C863-7CAECFB18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8079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7" name="Picture 6" descr="A close-up of a logo&#10;&#10;Description automatically generated">
            <a:extLst>
              <a:ext uri="{FF2B5EF4-FFF2-40B4-BE49-F238E27FC236}">
                <a16:creationId xmlns:a16="http://schemas.microsoft.com/office/drawing/2014/main" id="{289749DA-964E-1029-7533-D2E18F7555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ABB04710-AA32-FEA0-E840-64DF9E7B8A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B300036-9F8A-7437-F28C-43209D28F3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82108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 descr="A close-up of a logo&#10;&#10;Description automatically generated">
            <a:extLst>
              <a:ext uri="{FF2B5EF4-FFF2-40B4-BE49-F238E27FC236}">
                <a16:creationId xmlns:a16="http://schemas.microsoft.com/office/drawing/2014/main" id="{D5C0F4DE-6050-DE24-2B1A-8A9639F301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AF064EFD-F1B0-D7B4-45DA-B0DBADB4FC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37358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0" name="Picture 9" descr="A close-up of a logo&#10;&#10;Description automatically generated">
            <a:extLst>
              <a:ext uri="{FF2B5EF4-FFF2-40B4-BE49-F238E27FC236}">
                <a16:creationId xmlns:a16="http://schemas.microsoft.com/office/drawing/2014/main" id="{D96E5924-6847-B72B-F762-D7DB0FEFDF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B54EE2B0-DE5C-2621-E2EB-B66300B8F1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8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9869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5" name="Picture 4" descr="A close-up of a logo&#10;&#10;Description automatically generated">
            <a:extLst>
              <a:ext uri="{FF2B5EF4-FFF2-40B4-BE49-F238E27FC236}">
                <a16:creationId xmlns:a16="http://schemas.microsoft.com/office/drawing/2014/main" id="{67C9658D-8D8F-0911-4D29-4AC6ABCAD5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842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91822"/>
            <a:ext cx="3667125" cy="5108928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6EA80CE-037B-6814-6EEA-787517E582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84318" y="5903844"/>
            <a:ext cx="3256617" cy="731520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17104C4F-4545-B4B1-3C09-49413AB08C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2595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close-up of a logo&#10;&#10;Description automatically generated">
            <a:extLst>
              <a:ext uri="{FF2B5EF4-FFF2-40B4-BE49-F238E27FC236}">
                <a16:creationId xmlns:a16="http://schemas.microsoft.com/office/drawing/2014/main" id="{B5DA35B3-2ADA-4381-4696-198B6B1D0D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6783E181-EE5B-88BB-7F13-E19B34ADF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91822"/>
            <a:ext cx="3667125" cy="5108928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8A1D6CB4-A0BC-A5A3-5BC6-70650DDCA9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32077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Content Slide, 1 Header Row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9E7452-B69C-5209-DB6E-F7804A3BE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F4CCF450-2DB9-E1B8-3B28-A6EB826F07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089176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43671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3" name="Picture 2" descr="A close-up of a logo&#10;&#10;Description automatically generated">
            <a:extLst>
              <a:ext uri="{FF2B5EF4-FFF2-40B4-BE49-F238E27FC236}">
                <a16:creationId xmlns:a16="http://schemas.microsoft.com/office/drawing/2014/main" id="{2B3A08E0-8BB5-2D1C-4FBF-F4765CDCAD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FB621A29-449A-B3EB-6871-FB70127D16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238" y="1375016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1053907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9547676-5A5B-4B7E-B8AD-B21A795839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9950" y="5921991"/>
            <a:ext cx="3252922" cy="730690"/>
          </a:xfrm>
          <a:prstGeom prst="rect">
            <a:avLst/>
          </a:prstGeom>
        </p:spPr>
      </p:pic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7DFE2001-3E6A-1C02-1433-FECCB59723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40855456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2788AD6F-8832-E0B6-163A-F023BED0BC85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1" name="Freeform 58" descr="Quote bubble background; mostly decorative.">
              <a:extLst>
                <a:ext uri="{FF2B5EF4-FFF2-40B4-BE49-F238E27FC236}">
                  <a16:creationId xmlns:a16="http://schemas.microsoft.com/office/drawing/2014/main" id="{3AF28AF6-AE2A-B58D-D33D-5D89912EF314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Speech Bubble: Oval 6">
              <a:extLst>
                <a:ext uri="{FF2B5EF4-FFF2-40B4-BE49-F238E27FC236}">
                  <a16:creationId xmlns:a16="http://schemas.microsoft.com/office/drawing/2014/main" id="{CBF71302-FB82-0F47-BA6C-120F9AD893D6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12" name="Picture 1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FEA10D1-AECA-7AA7-6C68-4F7A08ECD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9950" y="5921991"/>
            <a:ext cx="3252922" cy="730690"/>
          </a:xfrm>
          <a:prstGeom prst="rect">
            <a:avLst/>
          </a:prstGeom>
        </p:spPr>
      </p:pic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1EB232C4-4712-AE14-9EBD-DDAC93269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22856060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close-up of a logo&#10;&#10;Description automatically generated">
            <a:extLst>
              <a:ext uri="{FF2B5EF4-FFF2-40B4-BE49-F238E27FC236}">
                <a16:creationId xmlns:a16="http://schemas.microsoft.com/office/drawing/2014/main" id="{C989CA08-8955-CCBB-C980-0EB6E1A648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184402" y="5899503"/>
            <a:ext cx="3225800" cy="72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579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26FE5A0-7688-C5A0-95B4-FD1E3FF7E54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359161" y="2426035"/>
            <a:ext cx="76327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39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D8B9464-E8A4-2CED-5AFD-4291C4E2B1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57447" y="574096"/>
            <a:ext cx="7277100" cy="1270000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F60AD4F5-CA3E-B874-FEC2-F721732877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7038618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AB88A16-0C0F-69AD-642F-6C733AFDADF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1712" y="5993296"/>
            <a:ext cx="3143705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27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E9CA82A-8547-9408-D58A-5EB6691846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1712" y="5993296"/>
            <a:ext cx="3143705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196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2" name="Picture 1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FBC7306C-C5AE-FEB4-AA3F-ABB6165222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B2AD0EE7-CD1D-3CC5-5C78-A65F681064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7154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7" name="Picture 6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C28F4968-2D46-B078-ADD6-18C3FA1506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6BBE76E9-885B-7FA5-5B85-D402E65AE8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CBECC4A-61A0-D027-7ED9-3EDAFF904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7905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Title, Dark/Light Half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D0BED3-18B9-BDB3-5801-5C030C5E1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D7FD7E50-1AEB-3BFE-8077-6541BADB3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D86D82D-4EF9-AB28-B5A1-3FA29122B8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9049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F68461F4-D45B-E75A-F713-7D285DE3D5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A6604399-B57A-459D-81AA-774713E265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1960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0" name="Picture 9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A7E3B504-D209-7903-3FA5-93EADB83D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E2BBA4B-C507-BB49-624B-020DE77D0D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8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99453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5" name="Picture 4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1C10326E-5397-6343-BCA7-5F9CC59A2C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98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01511"/>
            <a:ext cx="3667125" cy="5199239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A4C7BF0-389D-B776-9DCD-079035FA40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1712" y="5993296"/>
            <a:ext cx="3143705" cy="548640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CD51B046-499C-8EC8-7656-C079388E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6876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3" name="Picture 1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13D62E31-75D1-207E-6598-74EB059618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E9218F6F-ABE5-492D-E0C9-C30053FC5A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01511"/>
            <a:ext cx="3667125" cy="5199239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6D45AA9-D821-53D2-2242-B02A24057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41977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96437533-E877-2323-4FA7-E0E85F8FAF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6EC83451-E028-F011-7598-24EB65B4A7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238" y="1375016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2348446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3F2757A-28E8-18D0-BE95-6332F84B23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649510" y="6019245"/>
            <a:ext cx="3209603" cy="56014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DCE46A56-4295-68B7-3F61-5E62BFF51A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19832704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9CB7670-3A3C-D48D-79FE-CCA74D42D0BC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3" name="Freeform 58" descr="Quote bubble background; mostly decorative.">
              <a:extLst>
                <a:ext uri="{FF2B5EF4-FFF2-40B4-BE49-F238E27FC236}">
                  <a16:creationId xmlns:a16="http://schemas.microsoft.com/office/drawing/2014/main" id="{AA40AE64-23D9-EC69-1BBE-59F0DE74631C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Speech Bubble: Oval 6">
              <a:extLst>
                <a:ext uri="{FF2B5EF4-FFF2-40B4-BE49-F238E27FC236}">
                  <a16:creationId xmlns:a16="http://schemas.microsoft.com/office/drawing/2014/main" id="{17455440-BA6D-EA59-A6E5-576B31364062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E9EC2DB-2368-E41E-D48E-6D7A95B8F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649510" y="6019245"/>
            <a:ext cx="3209603" cy="560140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B867213-B0BB-C38B-6AE3-558D9E5FB5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33285663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A87B51FB-884B-35C5-C7FF-F34FC3B823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76517" y="5987929"/>
            <a:ext cx="3143707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68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BA50319-AD93-E19E-58EC-78843EA6D81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38900" y="2648285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8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2_Banner Two-Line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69CEC0-3261-E27A-BB0D-43E8956A76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D5DB947-69F4-91D3-1F49-4058231FD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12795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79EED5E-BEF8-7F58-0882-954694B98C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57447" y="574513"/>
            <a:ext cx="7277100" cy="1270000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2307FB3D-E17A-DA50-5D30-1E2A8D788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1670111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9CE44E9-02FD-C62A-4C6B-A0652A19E98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8589" y="5995422"/>
            <a:ext cx="3131517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45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54598B6-D2D9-DC1A-C2C8-F8F6422EDD4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8589" y="5995422"/>
            <a:ext cx="3131517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697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4C9AEF40-F38C-2864-46CC-DC86DC137E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D62CC95D-774C-51EE-0066-9E42D024A4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3444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9" name="Picture 8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47178D28-0C85-45A0-A961-913078A4ED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96D93524-91C6-2D99-3F82-4B1F8EFECC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32B5793-1CD1-5505-1BD5-8B1D814FCA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4992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00675352-AA0F-101E-256B-D145430D8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F2D89978-31C8-652A-74FA-08EF061C26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49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0E1325EB-887A-6F34-D819-B344C74781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4F9695F9-3281-995F-7E5C-D9F232742A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8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15079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557D0FC1-0469-E96F-F091-C4A019E72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951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25689"/>
            <a:ext cx="3667125" cy="5069733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3B41FE4-1C64-557E-9686-0AC1EF4EA1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8589" y="5995422"/>
            <a:ext cx="3131517" cy="546513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1FA8A82E-C18C-2209-B232-056F6FA6C4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687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DD550F2A-39CF-99FC-595F-0133711CA9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8A4D1CB5-C9EF-6D76-4230-5DED7621BE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25689"/>
            <a:ext cx="3667125" cy="5069733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B952903-FD53-10EF-5193-E39FB2D140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54464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3_Banner Three-Line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632CC7-E1DC-7875-B3E0-C2033C1699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605C9EAF-523E-2E1F-4FE3-02DCC286DD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180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8" name="Picture 7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8C886205-CCB7-E6DA-B992-F0457842B1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43B4B39-172C-6876-8E21-400CD6B2AF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007" y="1375016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3602311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FD23341-414F-D357-EB5F-2F3A419EFA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1" y="5999362"/>
            <a:ext cx="3134929" cy="547108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F57EF6E3-1941-FD2A-26C1-BF6FE4B095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28382923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93F7563-2E68-DED4-B77E-61238B5C59DB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3" name="Freeform 58" descr="Quote bubble background; mostly decorative.">
              <a:extLst>
                <a:ext uri="{FF2B5EF4-FFF2-40B4-BE49-F238E27FC236}">
                  <a16:creationId xmlns:a16="http://schemas.microsoft.com/office/drawing/2014/main" id="{6AD6B08F-A20F-F7AB-6C75-5496C1BB88A4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Speech Bubble: Oval 6">
              <a:extLst>
                <a:ext uri="{FF2B5EF4-FFF2-40B4-BE49-F238E27FC236}">
                  <a16:creationId xmlns:a16="http://schemas.microsoft.com/office/drawing/2014/main" id="{E602B323-4C37-27FB-81E3-8664279CF3BB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20142B9-7303-1E8C-CC76-F34FEA4E10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1" y="5999362"/>
            <a:ext cx="3134929" cy="547108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C1E37FF7-F405-A915-1DE3-2FCCD0C7F1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7807390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2B0799C5-33BD-B3C8-F995-5D8028270D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6118" y="5987157"/>
            <a:ext cx="3131517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53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F9631C8-ADAB-9CA8-7281-E35B1F7B3A7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38900" y="2648285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1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970C659-3DE3-46F5-67FC-BCD0956D0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57447" y="575207"/>
            <a:ext cx="7277100" cy="1270000"/>
          </a:xfrm>
          <a:prstGeom prst="rect">
            <a:avLst/>
          </a:prstGeom>
        </p:spPr>
      </p:pic>
      <p:sp>
        <p:nvSpPr>
          <p:cNvPr id="10" name="Title 8">
            <a:extLst>
              <a:ext uri="{FF2B5EF4-FFF2-40B4-BE49-F238E27FC236}">
                <a16:creationId xmlns:a16="http://schemas.microsoft.com/office/drawing/2014/main" id="{515978F5-4D57-AFF5-8F48-2B8E5DF6CF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26407428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90EB4E5-1CE7-0D5E-9A2B-4C9588613D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7605" y="5992043"/>
            <a:ext cx="3131522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EC4EDEC-D5D1-BBD2-7FDC-45B634BD29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7605" y="5992043"/>
            <a:ext cx="3131522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574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2" name="Picture 1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CFC4F735-443D-2D65-ED8C-E8CF700C98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11F300A3-DFD2-9636-0514-5CEDC32A6B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7007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7" name="Picture 6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B6F8ADD7-F88E-A936-D79A-5AD865BBE7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80BEB3B0-858F-9463-4AFB-F883410BCF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2366423D-9D56-40B3-C1B4-98BB56E06B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50487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Data Slide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066C99-D7BE-228D-A15E-345064A2C1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6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6F838066-7752-DB03-6E72-1A0CEF8064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8063452-E967-7124-5E0A-D38C2F6A42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7345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1A238370-47AE-26F6-55CC-F4E25315C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D342FD26-0DE4-7608-23E5-3381F12EF5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899893"/>
            <a:ext cx="11452514" cy="394215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226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042DD0B3-32C5-F27A-9A17-0F74886023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81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57956"/>
            <a:ext cx="3667125" cy="5142794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6DBFBCC-9E59-5E57-E398-B71B43670E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7605" y="5992043"/>
            <a:ext cx="3131522" cy="546513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51E1A085-267B-FC12-9A62-1A8F83CEE9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06285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3" name="Picture 1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16A6FA89-8FA5-4DEB-B5C1-B182E8E166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E3E512-E3C8-634F-14EF-F3951B404A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57956"/>
            <a:ext cx="3667125" cy="5142794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1F9CA517-8BE1-DAF4-9C93-89DF72CD5A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79613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1D326AE3-D571-2E17-A38E-785EBB3492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657EFCBF-D547-99CD-9CDF-B53E6C194C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59007" y="1375016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12" name="Picture 1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020E561-4B5D-F81B-506C-3E6DA34A2B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8757021" y="5991845"/>
            <a:ext cx="3131522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245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EC3E9D0-07D2-828C-6BB1-3B2A903CCA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1" y="5991845"/>
            <a:ext cx="3131522" cy="546513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F332B23-720A-23B3-F50A-3028F84281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26087852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363D666-E6E1-E6B6-E200-0D8CF500B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1" y="5991845"/>
            <a:ext cx="3131522" cy="546513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E6A89DE-6107-F291-F934-1DD017E1DB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611087-8963-21C2-F637-EDCDD7CD8CB5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3" name="Freeform 58" descr="Quote bubble background; mostly decorative.">
              <a:extLst>
                <a:ext uri="{FF2B5EF4-FFF2-40B4-BE49-F238E27FC236}">
                  <a16:creationId xmlns:a16="http://schemas.microsoft.com/office/drawing/2014/main" id="{DA101906-AC19-1C44-67A8-D0CEE7C978D3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Speech Bubble: Oval 6">
              <a:extLst>
                <a:ext uri="{FF2B5EF4-FFF2-40B4-BE49-F238E27FC236}">
                  <a16:creationId xmlns:a16="http://schemas.microsoft.com/office/drawing/2014/main" id="{B71EE118-5B7F-15E3-503E-E534F557F347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25961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A0BD2958-BC4D-D8BF-3481-D7BE5EE3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1" y="5996616"/>
            <a:ext cx="3148570" cy="54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515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DDEB49D-B1CE-AB3D-FEF6-87C8695B599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35825" y="2648285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Purple Arrow 1/4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56ADE4-CC3D-DC3D-6E29-E34BF8C6E4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24478" y="6000749"/>
            <a:ext cx="2116488" cy="5388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48268"/>
            <a:ext cx="3667125" cy="5038875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A79DD6F4-EB48-05DB-8D7E-484AE6EF23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8228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8001FDB-BE50-E583-DC1D-8BF9E27F07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57447" y="582298"/>
            <a:ext cx="7277100" cy="1270000"/>
          </a:xfrm>
          <a:prstGeom prst="rect">
            <a:avLst/>
          </a:prstGeom>
        </p:spPr>
      </p:pic>
      <p:sp>
        <p:nvSpPr>
          <p:cNvPr id="10" name="Title 8">
            <a:extLst>
              <a:ext uri="{FF2B5EF4-FFF2-40B4-BE49-F238E27FC236}">
                <a16:creationId xmlns:a16="http://schemas.microsoft.com/office/drawing/2014/main" id="{A2461CCA-0F92-E4D4-A330-1B3DE73C9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</p:spTree>
    <p:extLst>
      <p:ext uri="{BB962C8B-B14F-4D97-AF65-F5344CB8AC3E}">
        <p14:creationId xmlns:p14="http://schemas.microsoft.com/office/powerpoint/2010/main" val="18292323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D38F177-9134-1BCE-A563-708D4F6C70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3838" y="5999088"/>
            <a:ext cx="3124611" cy="545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62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C472EF3-8E53-5D17-A50D-E2D501A019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3838" y="5999088"/>
            <a:ext cx="3124611" cy="545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598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3" name="Picture 2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07E9AA32-389C-AA73-8FEB-6A6D9A523E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2E4C0B0A-5B2D-9A18-63F3-9F9D187A60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40104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9" name="Picture 8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12BD7157-2372-4A31-2EFE-5D16513F8A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FD0B3A5A-05FD-D6F1-51A0-88AF7E8787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5BA59D44-965E-C8A8-3829-56C6BE6CC9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32737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536554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8" y="182879"/>
            <a:ext cx="11374751" cy="1103606"/>
          </a:xfrm>
          <a:prstGeom prst="rect">
            <a:avLst/>
          </a:prstGeom>
        </p:spPr>
        <p:txBody>
          <a:bodyPr anchor="t"/>
          <a:lstStyle>
            <a:lvl1pPr algn="l">
              <a:defRPr sz="36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HERE</a:t>
            </a:r>
            <a:br>
              <a:rPr lang="en-US"/>
            </a:br>
            <a:r>
              <a:rPr lang="en-US"/>
              <a:t>CLICK TO EDIT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65ECF3-23F1-3103-21EA-102A81266CE9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5" name="Picture 4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19FEF589-EA43-CBA1-9A32-F528EB552C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4B3FB9AA-4F23-F0CB-8770-CD889234D7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505527"/>
            <a:ext cx="11452514" cy="4336516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61935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 Same Side Corner Rectangle 19">
            <a:extLst>
              <a:ext uri="{FF2B5EF4-FFF2-40B4-BE49-F238E27FC236}">
                <a16:creationId xmlns:a16="http://schemas.microsoft.com/office/drawing/2014/main" id="{2ACAE31B-AA45-E952-76B1-BF305596353F}"/>
              </a:ext>
            </a:extLst>
          </p:cNvPr>
          <p:cNvSpPr/>
          <p:nvPr userDrawn="1"/>
        </p:nvSpPr>
        <p:spPr>
          <a:xfrm>
            <a:off x="184403" y="985757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19">
            <a:extLst>
              <a:ext uri="{FF2B5EF4-FFF2-40B4-BE49-F238E27FC236}">
                <a16:creationId xmlns:a16="http://schemas.microsoft.com/office/drawing/2014/main" id="{58F06D5A-C079-E908-DF94-1094C4FCF31B}"/>
              </a:ext>
            </a:extLst>
          </p:cNvPr>
          <p:cNvSpPr/>
          <p:nvPr userDrawn="1"/>
        </p:nvSpPr>
        <p:spPr>
          <a:xfrm>
            <a:off x="184403" y="666421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9" y="182880"/>
            <a:ext cx="11259816" cy="1552807"/>
          </a:xfrm>
          <a:prstGeom prst="rect">
            <a:avLst/>
          </a:prstGeom>
        </p:spPr>
        <p:txBody>
          <a:bodyPr anchor="t"/>
          <a:lstStyle>
            <a:lvl1pPr algn="l">
              <a:defRPr sz="32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LICK TO EDIT TITLE STYLE CLICK TO EDIT MASTER TITLE STYLE CLICK TO EDIT MASTER TITLE STYLE 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7E4AA-FCA4-3972-06DB-5E14A29DAE60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10" name="Picture 9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234BD6C7-7E23-09B7-6741-84E6DBFEA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36B48062-E2EE-493A-E1C2-33B2CDA710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995055"/>
            <a:ext cx="11452514" cy="384698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3927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B8FB882E-71FA-35E5-0625-FCFDFAC078C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B1DE002-C707-22F1-2023-BA50DCA76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pic>
        <p:nvPicPr>
          <p:cNvPr id="5" name="Picture 4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662DFF45-65E3-9328-7179-F7EB3E87EE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168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-1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030B5F-E3B4-58B9-D49A-54F524A22DF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6ADF3A6-466E-35D2-3BE0-E603674DBE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57956"/>
            <a:ext cx="3667125" cy="5142794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7040ECB-BF1E-44B2-78EE-A4E1D2296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3838" y="5999088"/>
            <a:ext cx="3124611" cy="545307"/>
          </a:xfrm>
          <a:prstGeom prst="rect">
            <a:avLst/>
          </a:prstGeom>
        </p:spPr>
      </p:pic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F48F955-487C-C5EB-8000-D2C356141A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75660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-1" y="0"/>
            <a:ext cx="4308031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73AC3439-F2AE-ADDA-4D75-B1B4612B1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36383D45-7F04-9B6A-DB8C-94CD5AB58F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857956"/>
            <a:ext cx="3667125" cy="5142794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67B5B720-49A9-68BB-1646-9217B961FD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36070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White Arrow 1/4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27E5CA52-16C4-14DC-0BC7-CB2F56B8B48B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9DCC4E8E-F94C-56F9-900D-B90BA45E91D1}"/>
              </a:ext>
            </a:extLst>
          </p:cNvPr>
          <p:cNvSpPr/>
          <p:nvPr userDrawn="1"/>
        </p:nvSpPr>
        <p:spPr bwMode="ltGray">
          <a:xfrm>
            <a:off x="0" y="0"/>
            <a:ext cx="430803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96BDA8E7-F87B-7F9D-32BF-D8E9172827CB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5DA5A-D0AA-CA9A-3C70-36764170E975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82A07E-67B7-895C-6492-09A760BD1C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tretch>
            <a:fillRect/>
          </a:stretch>
        </p:blipFill>
        <p:spPr>
          <a:xfrm>
            <a:off x="308519" y="6000749"/>
            <a:ext cx="2127197" cy="538815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2E753A3C-54E6-15C0-0475-C91AEC2821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48268"/>
            <a:ext cx="3667125" cy="5038875"/>
          </a:xfrm>
          <a:prstGeom prst="rect">
            <a:avLst/>
          </a:prstGeom>
        </p:spPr>
        <p:txBody>
          <a:bodyPr lIns="274320" tIns="0" rIns="182880" anchor="ctr"/>
          <a:lstStyle>
            <a:lvl1pPr>
              <a:defRPr sz="4400" b="1" cap="none" spc="10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CONTENT SLIDE TITLE IN ALL CAPS GOES HER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45E2F550-8ECC-DA65-B77A-99FF2E911E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8031" y="169274"/>
            <a:ext cx="7487727" cy="6519452"/>
          </a:xfrm>
          <a:prstGeom prst="rect">
            <a:avLst/>
          </a:prstGeom>
        </p:spPr>
        <p:txBody>
          <a:bodyPr anchor="ctr"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chemeClr val="bg1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36478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4C491117-ED8F-597D-1DFE-B398C63A7002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C7F85943-0328-7618-6251-E4D956998ADA}"/>
              </a:ext>
            </a:extLst>
          </p:cNvPr>
          <p:cNvSpPr/>
          <p:nvPr userDrawn="1"/>
        </p:nvSpPr>
        <p:spPr>
          <a:xfrm rot="16200000">
            <a:off x="5527527" y="-2223843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F6D6BD-046D-4940-EC28-6977D1240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ctr">
            <a:normAutofit/>
          </a:bodyPr>
          <a:lstStyle>
            <a:lvl1pPr algn="l">
              <a:defRPr sz="4000" b="1" kern="1200" cap="all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data SLIDE TITLE IN ALL CAPS GOES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solidFill>
            <a:srgbClr val="43275D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F42AF65-9BB9-0E7F-E814-738F21922644}"/>
              </a:ext>
            </a:extLst>
          </p:cNvPr>
          <p:cNvSpPr/>
          <p:nvPr userDrawn="1"/>
        </p:nvSpPr>
        <p:spPr>
          <a:xfrm rot="16200000">
            <a:off x="5527527" y="-692459"/>
            <a:ext cx="1265364" cy="8466425"/>
          </a:xfrm>
          <a:prstGeom prst="roundRect">
            <a:avLst>
              <a:gd name="adj" fmla="val 11356"/>
            </a:avLst>
          </a:prstGeom>
          <a:solidFill>
            <a:srgbClr val="FA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5DBF7DD-9B38-F27D-2136-CFDB45CC2BEA}"/>
              </a:ext>
            </a:extLst>
          </p:cNvPr>
          <p:cNvSpPr/>
          <p:nvPr userDrawn="1"/>
        </p:nvSpPr>
        <p:spPr>
          <a:xfrm rot="16200000">
            <a:off x="5573046" y="846453"/>
            <a:ext cx="1265364" cy="8466424"/>
          </a:xfrm>
          <a:prstGeom prst="roundRect">
            <a:avLst>
              <a:gd name="adj" fmla="val 11356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3C12E2-45A6-B565-128F-48350C0D2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26995" y="1375016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FACE00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F091DA3-EA1D-78A6-D005-1CB900EE0B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995" y="291189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600" b="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20C3CE79-90C0-6033-FC75-F9ADA31905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8505" y="4438008"/>
            <a:ext cx="2132012" cy="1265238"/>
          </a:xfrm>
          <a:prstGeom prst="rect">
            <a:avLst/>
          </a:prstGeom>
        </p:spPr>
        <p:txBody>
          <a:bodyPr lIns="274320" anchor="ctr"/>
          <a:lstStyle>
            <a:lvl1pPr>
              <a:defRPr sz="2400"/>
            </a:lvl1pPr>
          </a:lstStyle>
          <a:p>
            <a:pPr>
              <a:lnSpc>
                <a:spcPts val="3000"/>
              </a:lnSpc>
              <a:spcAft>
                <a:spcPts val="1800"/>
              </a:spcAft>
            </a:pP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$500 </a:t>
            </a:r>
            <a:b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</a:br>
            <a:r>
              <a:rPr lang="en-US" sz="2000" b="1" spc="300">
                <a:solidFill>
                  <a:srgbClr val="212121"/>
                </a:solidFill>
                <a:latin typeface="Oswald" panose="02000503000000000000" pitchFamily="2" charset="0"/>
              </a:rPr>
              <a:t>MILLION</a:t>
            </a:r>
            <a:endParaRPr lang="en-US" sz="2000">
              <a:solidFill>
                <a:srgbClr val="212121"/>
              </a:solidFill>
              <a:latin typeface="Oswald" panose="02000503000000000000" pitchFamily="2" charset="0"/>
            </a:endParaRP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22BF3E75-0840-0A91-5575-A96959647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9238" y="2915725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96A2EBF-5BDD-0ACD-5695-B20FEFCB7C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00517" y="4459575"/>
            <a:ext cx="6334125" cy="1265238"/>
          </a:xfrm>
          <a:prstGeom prst="rect">
            <a:avLst/>
          </a:prstGeom>
        </p:spPr>
        <p:txBody>
          <a:bodyPr anchor="ctr"/>
          <a:lstStyle/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  <p:pic>
        <p:nvPicPr>
          <p:cNvPr id="7" name="Picture 6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0B5C764D-62F6-7262-D086-F22F3D89A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0E9D0A5A-7DBE-84CC-A62D-D4CE3CF6AF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7939" y="1389407"/>
            <a:ext cx="6334125" cy="126523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12121"/>
                </a:solidFill>
              </a:defRPr>
            </a:lvl1pPr>
          </a:lstStyle>
          <a:p>
            <a:pPr>
              <a:spcAft>
                <a:spcPts val="1800"/>
              </a:spcAft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dolor fermentum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et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us</a:t>
            </a: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2263072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Pr>
        <a:solidFill>
          <a:srgbClr val="29183C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8">
            <a:extLst>
              <a:ext uri="{FF2B5EF4-FFF2-40B4-BE49-F238E27FC236}">
                <a16:creationId xmlns:a16="http://schemas.microsoft.com/office/drawing/2014/main" id="{FA5A414E-09F8-6BC6-187C-DEE1ED546983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576470" y="215650"/>
            <a:ext cx="1161553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9183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Freeform 58" descr="Quote bubble background; mostly decorative.">
            <a:extLst>
              <a:ext uri="{FF2B5EF4-FFF2-40B4-BE49-F238E27FC236}">
                <a16:creationId xmlns:a16="http://schemas.microsoft.com/office/drawing/2014/main" id="{1EB19DE9-D718-99A6-9847-96142045FD17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848138" y="215651"/>
            <a:ext cx="11044842" cy="4877118"/>
          </a:xfrm>
          <a:prstGeom prst="roundRect">
            <a:avLst/>
          </a:prstGeom>
          <a:solidFill>
            <a:srgbClr val="43285D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689248-315B-98BA-44B0-3F0BEF6D3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44841" cy="943693"/>
          </a:xfrm>
          <a:prstGeom prst="rect">
            <a:avLst/>
          </a:prstGeom>
        </p:spPr>
        <p:txBody>
          <a:bodyPr wrap="none"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191946-21D5-DA2F-FD95-A693317BE1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lIns="457200" tIns="91440" rIns="457200" bIns="91440"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352CA4E7-1258-D981-388B-3C3ADAC81BC9}"/>
              </a:ext>
            </a:extLst>
          </p:cNvPr>
          <p:cNvSpPr/>
          <p:nvPr userDrawn="1"/>
        </p:nvSpPr>
        <p:spPr>
          <a:xfrm>
            <a:off x="887895" y="3535185"/>
            <a:ext cx="4608443" cy="1563227"/>
          </a:xfrm>
          <a:prstGeom prst="wedgeEllipseCallout">
            <a:avLst>
              <a:gd name="adj1" fmla="val -20470"/>
              <a:gd name="adj2" fmla="val 109046"/>
            </a:avLst>
          </a:prstGeom>
          <a:solidFill>
            <a:srgbClr val="4328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7BDECF-0EEE-B847-0A1E-DE009DC6A0F2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49230D0-0FDF-0846-C20E-852383AC68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0" y="5999088"/>
            <a:ext cx="3124611" cy="545307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097C6391-1476-C56D-8537-5A229DD354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</p:spTree>
    <p:extLst>
      <p:ext uri="{BB962C8B-B14F-4D97-AF65-F5344CB8AC3E}">
        <p14:creationId xmlns:p14="http://schemas.microsoft.com/office/powerpoint/2010/main" val="13788251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9A4A07C7-2067-579C-B8D2-FC6AEBDD8C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895" y="493110"/>
            <a:ext cx="11005085" cy="943693"/>
          </a:xfrm>
          <a:prstGeom prst="rect">
            <a:avLst/>
          </a:prstGeom>
        </p:spPr>
        <p:txBody>
          <a:bodyPr lIns="457200" tIns="91440" rIns="457200" bIns="91440" anchor="ctr" anchorCtr="0">
            <a:normAutofit/>
          </a:bodyPr>
          <a:lstStyle>
            <a:lvl1pPr algn="ctr">
              <a:lnSpc>
                <a:spcPct val="100000"/>
              </a:lnSpc>
              <a:defRPr sz="7200" b="1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8242B8-AF99-559D-1D96-B8210DDB7EEA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5525500-F7DB-A36A-3D58-4C2873BA6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7447" y="1721101"/>
            <a:ext cx="10438083" cy="3126472"/>
          </a:xfrm>
          <a:prstGeom prst="rect">
            <a:avLst/>
          </a:prstGeom>
        </p:spPr>
        <p:txBody>
          <a:bodyPr anchor="t" anchorCtr="0"/>
          <a:lstStyle>
            <a:lvl1pPr algn="l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“Click to edit quote text slide”</a:t>
            </a:r>
          </a:p>
        </p:txBody>
      </p:sp>
      <p:pic>
        <p:nvPicPr>
          <p:cNvPr id="11" name="Picture 1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0CF2336-BBEC-34BF-B289-E697C173E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8757020" y="5999088"/>
            <a:ext cx="3124611" cy="545307"/>
          </a:xfrm>
          <a:prstGeom prst="rect">
            <a:avLst/>
          </a:prstGeom>
        </p:spPr>
      </p:pic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F47D780-3919-0567-A858-2682672F07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711" y="5612428"/>
            <a:ext cx="7191022" cy="1029921"/>
          </a:xfrm>
          <a:prstGeom prst="rect">
            <a:avLst/>
          </a:prstGeom>
        </p:spPr>
        <p:txBody>
          <a:bodyPr/>
          <a:lstStyle>
            <a:lvl1pPr algn="ctr">
              <a:defRPr sz="1800" b="1" cap="all" spc="200" baseline="0">
                <a:solidFill>
                  <a:srgbClr val="FACE00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Other placeholder text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1A09358-7BAF-7008-623F-597609B9E587}"/>
              </a:ext>
            </a:extLst>
          </p:cNvPr>
          <p:cNvGrpSpPr/>
          <p:nvPr userDrawn="1"/>
        </p:nvGrpSpPr>
        <p:grpSpPr>
          <a:xfrm>
            <a:off x="848138" y="299939"/>
            <a:ext cx="11044842" cy="4815725"/>
            <a:chOff x="848138" y="67037"/>
            <a:chExt cx="11044842" cy="4815725"/>
          </a:xfrm>
          <a:solidFill>
            <a:srgbClr val="000000"/>
          </a:solidFill>
        </p:grpSpPr>
        <p:sp>
          <p:nvSpPr>
            <p:cNvPr id="14" name="Freeform 58" descr="Quote bubble background; mostly decorative.">
              <a:extLst>
                <a:ext uri="{FF2B5EF4-FFF2-40B4-BE49-F238E27FC236}">
                  <a16:creationId xmlns:a16="http://schemas.microsoft.com/office/drawing/2014/main" id="{1BBEF865-8D10-67E0-7556-F2B9FFED1230}"/>
                </a:ext>
              </a:extLst>
            </p:cNvPr>
            <p:cNvSpPr>
              <a:spLocks/>
            </p:cNvSpPr>
            <p:nvPr userDrawn="1"/>
          </p:nvSpPr>
          <p:spPr bwMode="white">
            <a:xfrm flipH="1">
              <a:off x="848138" y="67037"/>
              <a:ext cx="11044842" cy="4810081"/>
            </a:xfrm>
            <a:prstGeom prst="roundRect">
              <a:avLst/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Speech Bubble: Oval 6">
              <a:extLst>
                <a:ext uri="{FF2B5EF4-FFF2-40B4-BE49-F238E27FC236}">
                  <a16:creationId xmlns:a16="http://schemas.microsoft.com/office/drawing/2014/main" id="{CE2FB8D0-43D4-77D5-D17B-8B54E21AB849}"/>
                </a:ext>
              </a:extLst>
            </p:cNvPr>
            <p:cNvSpPr/>
            <p:nvPr userDrawn="1"/>
          </p:nvSpPr>
          <p:spPr>
            <a:xfrm>
              <a:off x="887895" y="3319535"/>
              <a:ext cx="4608443" cy="1563227"/>
            </a:xfrm>
            <a:prstGeom prst="wedgeEllipseCallout">
              <a:avLst>
                <a:gd name="adj1" fmla="val -20470"/>
                <a:gd name="adj2" fmla="val 109046"/>
              </a:avLst>
            </a:prstGeom>
            <a:solidFill>
              <a:srgbClr val="2918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621557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7AF91D-F16F-0047-5C1B-7E247D85567F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6" name="Picture 5" descr="A black background with purple letters&#10;&#10;Description automatically generated">
            <a:extLst>
              <a:ext uri="{FF2B5EF4-FFF2-40B4-BE49-F238E27FC236}">
                <a16:creationId xmlns:a16="http://schemas.microsoft.com/office/drawing/2014/main" id="{331BDEA3-834E-DB59-89D6-8DBFEB4567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284430" y="5990355"/>
            <a:ext cx="3143704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422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End 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A7D9660-7763-5FF5-ADE9-703B77B422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35825" y="2648285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9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Section Master">
    <p:bg>
      <p:bgPr>
        <a:solidFill>
          <a:schemeClr val="bg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E15525-E5E0-6535-A675-A422FC7250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404" y="5897105"/>
            <a:ext cx="11823192" cy="771500"/>
          </a:xfrm>
          <a:prstGeom prst="rect">
            <a:avLst/>
          </a:prstGeom>
        </p:spPr>
        <p:txBody>
          <a:bodyPr anchor="ctr"/>
          <a:lstStyle>
            <a:lvl1pPr algn="ctr">
              <a:defRPr sz="1400" b="1" cap="none" spc="100" baseline="0">
                <a:solidFill>
                  <a:schemeClr val="bg1"/>
                </a:solidFill>
              </a:defRPr>
            </a:lvl1pPr>
            <a:lvl2pPr algn="ctr">
              <a:defRPr sz="1400" cap="all" baseline="0">
                <a:solidFill>
                  <a:schemeClr val="bg1"/>
                </a:solidFill>
              </a:defRPr>
            </a:lvl2pPr>
            <a:lvl3pPr algn="ctr">
              <a:defRPr sz="1400" cap="all" baseline="0">
                <a:solidFill>
                  <a:schemeClr val="bg1"/>
                </a:solidFill>
              </a:defRPr>
            </a:lvl3pPr>
            <a:lvl4pPr algn="ctr">
              <a:defRPr sz="1400" cap="all" baseline="0">
                <a:solidFill>
                  <a:schemeClr val="bg1"/>
                </a:solidFill>
              </a:defRPr>
            </a:lvl4pPr>
            <a:lvl5pPr algn="ctr">
              <a:defRPr sz="1400" cap="all" baseline="0">
                <a:solidFill>
                  <a:schemeClr val="bg1"/>
                </a:solidFill>
              </a:defRPr>
            </a:lvl5pPr>
          </a:lstStyle>
          <a:p>
            <a:pPr marR="0" lvl="0" fontAlgn="auto">
              <a:buClrTx/>
              <a:buSzTx/>
              <a:buNone/>
              <a:tabLst/>
            </a:pPr>
            <a:r>
              <a:rPr lang="en-US"/>
              <a:t>EVENT DATE  |  EVENT NAME  |  LO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E3EC7E-1CCB-C166-2AA1-BA5A84875F1C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E9767E7-BE54-46C9-A0FF-41D75C1F94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rIns="457200" anchor="ctr">
            <a:noAutofit/>
          </a:bodyPr>
          <a:lstStyle>
            <a:lvl1pPr algn="ctr">
              <a:defRPr sz="6000" cap="none" spc="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LIDE TEXT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E534992-BDD1-87FD-D208-50CE8BFAF9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02" y="4816017"/>
            <a:ext cx="11823700" cy="108108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2000" b="1" cap="none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NAME LASTNAME, MD, MPH</a:t>
            </a:r>
          </a:p>
          <a:p>
            <a:pPr lvl="0"/>
            <a:r>
              <a:rPr lang="en-US"/>
              <a:t>TITLE OR POSITION</a:t>
            </a:r>
          </a:p>
        </p:txBody>
      </p:sp>
      <p:pic>
        <p:nvPicPr>
          <p:cNvPr id="6" name="Picture 5" descr="A close-up of a sign&#10;&#10;Description automatically generated">
            <a:extLst>
              <a:ext uri="{FF2B5EF4-FFF2-40B4-BE49-F238E27FC236}">
                <a16:creationId xmlns:a16="http://schemas.microsoft.com/office/drawing/2014/main" id="{7446AAD2-C3F1-83FB-7B97-8004FBBFD7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57447" y="578298"/>
            <a:ext cx="72771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329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014CD9-4337-A350-3B0A-A091C58EF504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82A963-EE17-9732-0325-1B41BDACD3EC}"/>
              </a:ext>
            </a:extLst>
          </p:cNvPr>
          <p:cNvSpPr txBox="1">
            <a:spLocks/>
          </p:cNvSpPr>
          <p:nvPr userDrawn="1"/>
        </p:nvSpPr>
        <p:spPr>
          <a:xfrm>
            <a:off x="184404" y="189395"/>
            <a:ext cx="11777469" cy="6479210"/>
          </a:xfrm>
          <a:prstGeom prst="rect">
            <a:avLst/>
          </a:prstGeom>
        </p:spPr>
        <p:txBody>
          <a:bodyPr vert="horz" lIns="457200" tIns="457200" rIns="457200" bIns="4572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8400"/>
              </a:lnSpc>
            </a:pPr>
            <a:endParaRPr lang="en-US" sz="6600" b="1" spc="300">
              <a:solidFill>
                <a:schemeClr val="bg1"/>
              </a:solidFill>
              <a:latin typeface="Oswald" panose="02000503000000000000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E17968-FBC9-82A1-05BE-75B7BE8A0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3" y="780288"/>
            <a:ext cx="11823193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bg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TEXT</a:t>
            </a:r>
            <a:br>
              <a:rPr lang="en-US"/>
            </a:br>
            <a:r>
              <a:rPr lang="en-US"/>
              <a:t>GOES HERE IN ALL CAPS</a:t>
            </a:r>
            <a:br>
              <a:rPr lang="en-US"/>
            </a:br>
            <a:br>
              <a:rPr lang="en-US"/>
            </a:br>
            <a:r>
              <a:rPr lang="en-US"/>
              <a:t>CAN ALSO BE </a:t>
            </a:r>
            <a:br>
              <a:rPr lang="en-US"/>
            </a:br>
            <a:r>
              <a:rPr lang="en-US"/>
              <a:t>A SECTION HEADER</a:t>
            </a:r>
          </a:p>
        </p:txBody>
      </p:sp>
      <p:pic>
        <p:nvPicPr>
          <p:cNvPr id="7" name="Picture 6" descr="A close-up of a sign&#10;&#10;Description automatically generated">
            <a:extLst>
              <a:ext uri="{FF2B5EF4-FFF2-40B4-BE49-F238E27FC236}">
                <a16:creationId xmlns:a16="http://schemas.microsoft.com/office/drawing/2014/main" id="{6D79B17F-20BA-7D1B-D5B5-7073EB1F44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7605" y="5994897"/>
            <a:ext cx="3131522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2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Purple, No Bor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81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13DF03-8BF7-3CDC-4CF1-142C6E53C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3838" y="597408"/>
            <a:ext cx="11583042" cy="487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ctr" defTabSz="914400" rtl="0" eaLnBrk="1" fontAlgn="auto" latinLnBrk="0" hangingPunct="1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defRPr lang="en-US" sz="6600" b="1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BIG STATEMENT GOES HERE </a:t>
            </a:r>
            <a:br>
              <a:rPr lang="en-US"/>
            </a:br>
            <a:r>
              <a:rPr lang="en-US"/>
              <a:t>IN ALL CAPS</a:t>
            </a:r>
            <a:br>
              <a:rPr lang="en-US"/>
            </a:br>
            <a:br>
              <a:rPr lang="en-US"/>
            </a:br>
            <a:r>
              <a:rPr lang="en-US"/>
              <a:t>NO BORDER FULL TEXT VER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CF7A5D-260E-7837-2DD0-DD22705620DE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2" name="Picture 1" descr="A close-up of a sign&#10;&#10;Description automatically generated">
            <a:extLst>
              <a:ext uri="{FF2B5EF4-FFF2-40B4-BE49-F238E27FC236}">
                <a16:creationId xmlns:a16="http://schemas.microsoft.com/office/drawing/2014/main" id="{4B1B6FDF-37B9-2CAE-EDF4-A75944128AC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5000"/>
          </a:blip>
          <a:stretch>
            <a:fillRect/>
          </a:stretch>
        </p:blipFill>
        <p:spPr>
          <a:xfrm>
            <a:off x="287605" y="5994897"/>
            <a:ext cx="3131522" cy="5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926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985F144-A9DF-83A1-8464-63804C02E323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C90F05-BB0F-D52B-BBA0-DAC5202FE25D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370506-A60A-52E7-D1E7-743C0CB91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1B8FCE33-2213-DA80-BEDB-C62FD69290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609374F2-38A8-D0BF-A060-A780BB64E7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4" y="1117739"/>
            <a:ext cx="11534719" cy="48694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066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Master" preserve="1" userDrawn="1">
  <p:cSld name="1_Section Master">
    <p:bg>
      <p:bgRef idx="1001">
        <a:schemeClr val="bg1"/>
      </p:bgRef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0665EDD8-21B9-03B0-FABC-35B0540568DF}"/>
              </a:ext>
            </a:extLst>
          </p:cNvPr>
          <p:cNvSpPr/>
          <p:nvPr userDrawn="1"/>
        </p:nvSpPr>
        <p:spPr>
          <a:xfrm>
            <a:off x="184404" y="182880"/>
            <a:ext cx="11823192" cy="6492240"/>
          </a:xfrm>
          <a:prstGeom prst="roundRect">
            <a:avLst>
              <a:gd name="adj" fmla="val 363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D779C8B1-2337-A86F-B80B-8D26ABC2098B}"/>
              </a:ext>
            </a:extLst>
          </p:cNvPr>
          <p:cNvSpPr/>
          <p:nvPr userDrawn="1"/>
        </p:nvSpPr>
        <p:spPr>
          <a:xfrm>
            <a:off x="6096000" y="182880"/>
            <a:ext cx="5911596" cy="6492240"/>
          </a:xfrm>
          <a:prstGeom prst="roundRect">
            <a:avLst>
              <a:gd name="adj" fmla="val 3633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19">
            <a:extLst>
              <a:ext uri="{FF2B5EF4-FFF2-40B4-BE49-F238E27FC236}">
                <a16:creationId xmlns:a16="http://schemas.microsoft.com/office/drawing/2014/main" id="{80D14191-584A-1CBA-5954-0E43A4A214EF}"/>
              </a:ext>
            </a:extLst>
          </p:cNvPr>
          <p:cNvSpPr/>
          <p:nvPr userDrawn="1"/>
        </p:nvSpPr>
        <p:spPr>
          <a:xfrm>
            <a:off x="184403" y="182880"/>
            <a:ext cx="11823192" cy="749931"/>
          </a:xfrm>
          <a:prstGeom prst="round2SameRect">
            <a:avLst>
              <a:gd name="adj1" fmla="val 31537"/>
              <a:gd name="adj2" fmla="val 0"/>
            </a:avLst>
          </a:prstGeom>
          <a:solidFill>
            <a:srgbClr val="D0D0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F8F1CD-4233-F6C4-E36A-5C9D178FA143}"/>
              </a:ext>
            </a:extLst>
          </p:cNvPr>
          <p:cNvSpPr txBox="1"/>
          <p:nvPr userDrawn="1"/>
        </p:nvSpPr>
        <p:spPr>
          <a:xfrm>
            <a:off x="7487728" y="6688726"/>
            <a:ext cx="4308032" cy="1591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9AC43D-5DC4-024B-AFF4-B117145A8785}" type="datetime1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8/2026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| </a:t>
            </a:r>
            <a:fld id="{DFCF27A5-1A5B-48D3-A060-2758FFBB1ADD}" type="slidenum">
              <a:rPr lang="en-US" sz="1000" b="1" kern="1200" smtClean="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b="1" kern="1200">
                <a:solidFill>
                  <a:srgbClr val="8B7FA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4C4797-D43F-DC7A-DE66-F60CA7F1A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2" y="233899"/>
            <a:ext cx="11823192" cy="707886"/>
          </a:xfrm>
          <a:prstGeom prst="rect">
            <a:avLst/>
          </a:prstGeom>
        </p:spPr>
        <p:txBody>
          <a:bodyPr wrap="none" lIns="457200" rIns="457200" anchor="t">
            <a:normAutofit/>
          </a:bodyPr>
          <a:lstStyle>
            <a:lvl1pPr algn="l">
              <a:defRPr sz="4000" b="1" kern="1200" cap="none" spc="300" baseline="0">
                <a:solidFill>
                  <a:srgbClr val="212121"/>
                </a:solidFill>
                <a:latin typeface="+mj-lt"/>
              </a:defRPr>
            </a:lvl1pPr>
          </a:lstStyle>
          <a:p>
            <a:r>
              <a:rPr lang="en-US"/>
              <a:t>CONTENT SLIDE TITLE IN ALL CAPS GOES HERE</a:t>
            </a:r>
          </a:p>
        </p:txBody>
      </p:sp>
      <p:pic>
        <p:nvPicPr>
          <p:cNvPr id="10" name="Picture 9" descr="A close-up of a logo&#10;&#10;Description automatically generated">
            <a:extLst>
              <a:ext uri="{FF2B5EF4-FFF2-40B4-BE49-F238E27FC236}">
                <a16:creationId xmlns:a16="http://schemas.microsoft.com/office/drawing/2014/main" id="{58582338-0C73-F397-83FF-97F83DE9D9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283260" y="5991923"/>
            <a:ext cx="3148565" cy="549488"/>
          </a:xfrm>
          <a:prstGeom prst="rect">
            <a:avLst/>
          </a:prstGeom>
        </p:spPr>
      </p:pic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2AD2D1FF-589A-CB79-CC66-4AEBA39E9F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245" y="1117739"/>
            <a:ext cx="5558792" cy="4724304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D54EDB7-4B66-7813-D11E-03F1BB56B1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9973" y="1131733"/>
            <a:ext cx="5558792" cy="5492368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1pPr>
            <a:lvl2pPr marL="617220" indent="-356616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</a:defRPr>
            </a:lvl2pPr>
            <a:lvl3pPr marL="1074420" indent="-43434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>
                <a:solidFill>
                  <a:srgbClr val="000000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defRPr sz="2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Some content goes here; Remove the bullet if neede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35274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241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4" r:id="rId2"/>
    <p:sldLayoutId id="2147483697" r:id="rId3"/>
    <p:sldLayoutId id="2147483681" r:id="rId4"/>
    <p:sldLayoutId id="2147483698" r:id="rId5"/>
    <p:sldLayoutId id="2147483699" r:id="rId6"/>
    <p:sldLayoutId id="2147483703" r:id="rId7"/>
    <p:sldLayoutId id="2147483675" r:id="rId8"/>
    <p:sldLayoutId id="2147483695" r:id="rId9"/>
    <p:sldLayoutId id="2147483702" r:id="rId10"/>
    <p:sldLayoutId id="2147483660" r:id="rId11"/>
    <p:sldLayoutId id="2147483663" r:id="rId12"/>
    <p:sldLayoutId id="2147483680" r:id="rId13"/>
    <p:sldLayoutId id="2147483701" r:id="rId14"/>
    <p:sldLayoutId id="2147483800" r:id="rId15"/>
    <p:sldLayoutId id="2147483801" r:id="rId16"/>
    <p:sldLayoutId id="2147483802" r:id="rId17"/>
    <p:sldLayoutId id="2147483803" r:id="rId18"/>
    <p:sldLayoutId id="2147483804" r:id="rId19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3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691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83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253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530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5C801D63-5C4F-2046-E8CF-875DBC415A9D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0">
            <a:extLst>
              <a:ext uri="{FF2B5EF4-FFF2-40B4-BE49-F238E27FC236}">
                <a16:creationId xmlns:a16="http://schemas.microsoft.com/office/drawing/2014/main" id="{665CAAB7-6DA3-B0A1-5198-61F54926290A}"/>
              </a:ext>
            </a:extLst>
          </p:cNvPr>
          <p:cNvSpPr/>
          <p:nvPr userDrawn="1"/>
        </p:nvSpPr>
        <p:spPr>
          <a:xfrm>
            <a:off x="184404" y="189395"/>
            <a:ext cx="11823192" cy="6492240"/>
          </a:xfrm>
          <a:prstGeom prst="roundRect">
            <a:avLst>
              <a:gd name="adj" fmla="val 36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971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</p:sldLayoutIdLst>
  <p:hf sldNum="0"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1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tho.org/topic/resource/developing-a-state-health-improvement-plan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https://www.health.ny.gov/prevention/prevention_agenda/2025-2030/health_planning.htm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41.sv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y.gov/prevention/prevention_agenda/2025-2030/partnerships.htm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y.gov/prevention/prevention_agenda/2025-2030/partnerships.htm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www.health.ny.gov/prevention/prevention_agenda/2025-2030/contact.htm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mailto:Elizabeth.Whalen@health.ny.gov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Relationship Id="rId5" Type="http://schemas.openxmlformats.org/officeDocument/2006/relationships/hyperlink" Target="mailto:prevention@health.ny.gov" TargetMode="External"/><Relationship Id="rId4" Type="http://schemas.openxmlformats.org/officeDocument/2006/relationships/hyperlink" Target="mailto:Mark.Waldenmaier@health.ny.gov" TargetMode="Externa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mailto:Colleen.Leonard@health.ny.gov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Mark.Waldenmaier@health.ny.gov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7CC88A-8371-A176-8C5F-C475A58F53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ublic Health and Health Planning Council – Public Health Committee – February 18</a:t>
            </a:r>
            <a:r>
              <a:rPr lang="en-US" baseline="30000" dirty="0"/>
              <a:t>th</a:t>
            </a:r>
            <a:r>
              <a:rPr lang="en-US" dirty="0"/>
              <a:t>, 2026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0D97F1-8729-B8FB-F2D0-85E24E66B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tIns="45720" rIns="457200" bIns="45720" anchor="ctr">
            <a:noAutofit/>
          </a:bodyPr>
          <a:lstStyle/>
          <a:p>
            <a:r>
              <a:rPr lang="en-US" sz="5400" dirty="0"/>
              <a:t>THE OFFICE OF LOCAL HEALTH SERVICES – Reorganization </a:t>
            </a:r>
            <a:endParaRPr lang="en-US" sz="5400" cap="non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8FA858-56D0-AE57-F49E-248D2498E7DF}"/>
              </a:ext>
            </a:extLst>
          </p:cNvPr>
          <p:cNvSpPr/>
          <p:nvPr/>
        </p:nvSpPr>
        <p:spPr>
          <a:xfrm>
            <a:off x="184402" y="4384431"/>
            <a:ext cx="11823191" cy="1610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06F83E-78D6-F5DA-FD88-B3317C9DB39C}"/>
              </a:ext>
            </a:extLst>
          </p:cNvPr>
          <p:cNvSpPr txBox="1"/>
          <p:nvPr/>
        </p:nvSpPr>
        <p:spPr>
          <a:xfrm>
            <a:off x="2881179" y="4492477"/>
            <a:ext cx="6084277" cy="161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533C6D"/>
                </a:solidFill>
              </a:rPr>
              <a:t>Mark Waldenmaier</a:t>
            </a:r>
          </a:p>
          <a:p>
            <a:pPr algn="ctr"/>
            <a:r>
              <a:rPr lang="en-US" sz="2000" i="1" dirty="0">
                <a:solidFill>
                  <a:srgbClr val="533C6D"/>
                </a:solidFill>
              </a:rPr>
              <a:t>(He/him/his)</a:t>
            </a:r>
          </a:p>
          <a:p>
            <a:pPr algn="ctr"/>
            <a:r>
              <a:rPr lang="en-US" sz="2000" dirty="0">
                <a:solidFill>
                  <a:srgbClr val="533C6D"/>
                </a:solidFill>
              </a:rPr>
              <a:t>Director</a:t>
            </a:r>
          </a:p>
          <a:p>
            <a:pPr algn="ctr"/>
            <a:r>
              <a:rPr lang="en-US" sz="2000" dirty="0">
                <a:solidFill>
                  <a:srgbClr val="533C6D"/>
                </a:solidFill>
              </a:rPr>
              <a:t>Office of Local Health Services (OLHS)</a:t>
            </a:r>
          </a:p>
          <a:p>
            <a:endParaRPr lang="en-US" dirty="0">
              <a:solidFill>
                <a:srgbClr val="533C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778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F73DB2-6127-5553-3755-4901F2956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2456454-B4FE-F613-FA0F-D7287791FB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ublic Health and Health Planning Council – Public Health Committee – February 18</a:t>
            </a:r>
            <a:r>
              <a:rPr lang="en-US" baseline="30000" dirty="0"/>
              <a:t>th</a:t>
            </a:r>
            <a:r>
              <a:rPr lang="en-US" dirty="0"/>
              <a:t>, 2026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7ECF7B-5185-2478-A11A-B4B01A63A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tIns="45720" rIns="457200" bIns="45720" anchor="ctr">
            <a:noAutofit/>
          </a:bodyPr>
          <a:lstStyle/>
          <a:p>
            <a:r>
              <a:rPr lang="en-US" sz="5400" dirty="0"/>
              <a:t>2025 END OF YEAR SUMMARY </a:t>
            </a:r>
            <a:br>
              <a:rPr lang="en-US" sz="5400" dirty="0"/>
            </a:br>
            <a:r>
              <a:rPr lang="en-US" sz="5400" dirty="0"/>
              <a:t> NEW YORK STATE PREVENTION AGENDA</a:t>
            </a:r>
            <a:r>
              <a:rPr lang="en-US" sz="5400" b="0" dirty="0"/>
              <a:t>​</a:t>
            </a:r>
            <a:endParaRPr lang="en-US" sz="5400" cap="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F9C34F-64FD-2041-B35B-0B61D710AE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4402" y="4743994"/>
            <a:ext cx="11823700" cy="1306286"/>
          </a:xfrm>
        </p:spPr>
        <p:txBody>
          <a:bodyPr lIns="91440" tIns="45720" rIns="91440" bIns="45720" numCol="2" anchor="ctr"/>
          <a:lstStyle/>
          <a:p>
            <a:r>
              <a:rPr lang="en-US" sz="1600" dirty="0"/>
              <a:t>Elizabeth Whalen </a:t>
            </a:r>
            <a:r>
              <a:rPr lang="en-US" sz="1600" dirty="0" err="1"/>
              <a:t>MD,MPH,DipABLM</a:t>
            </a:r>
            <a:r>
              <a:rPr lang="en-US" sz="1600" dirty="0"/>
              <a:t> </a:t>
            </a:r>
          </a:p>
          <a:p>
            <a:r>
              <a:rPr lang="en-US" sz="1600" i="1" dirty="0"/>
              <a:t>(she/her/hers)</a:t>
            </a:r>
          </a:p>
          <a:p>
            <a:r>
              <a:rPr lang="en-US" sz="1600" dirty="0"/>
              <a:t>Medical Director</a:t>
            </a:r>
          </a:p>
          <a:p>
            <a:r>
              <a:rPr lang="en-US" sz="1600" dirty="0"/>
              <a:t>Office of Public Health</a:t>
            </a:r>
          </a:p>
          <a:p>
            <a:endParaRPr lang="en-US" sz="1600" dirty="0"/>
          </a:p>
          <a:p>
            <a:r>
              <a:rPr lang="en-US" sz="1600" dirty="0"/>
              <a:t>Mark Waldenmaier</a:t>
            </a:r>
          </a:p>
          <a:p>
            <a:r>
              <a:rPr lang="en-US" sz="1600" i="1" dirty="0"/>
              <a:t>(he/him/his)</a:t>
            </a:r>
          </a:p>
          <a:p>
            <a:r>
              <a:rPr lang="en-US" sz="1600" dirty="0"/>
              <a:t>Director</a:t>
            </a:r>
          </a:p>
          <a:p>
            <a:r>
              <a:rPr lang="en-US" sz="1600" dirty="0"/>
              <a:t>Office of Local Health Services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37627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8C406C-82E7-2028-CB51-2BBDEE1DD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1E521-1815-04DC-A41D-AC09B41F8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on Agenda Statu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D5C664-1D2D-1A23-A197-76B068A6A9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State Level Implementation Activiti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5E9037-1B9E-3214-58DE-375F89BC94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59007" y="1385507"/>
            <a:ext cx="6205998" cy="1265238"/>
          </a:xfrm>
        </p:spPr>
        <p:txBody>
          <a:bodyPr/>
          <a:lstStyle/>
          <a:p>
            <a:pPr marL="342900" indent="-34290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State Health Assessment (SHA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DFF85C-DA3C-8ABF-D429-957DD9142E01}"/>
              </a:ext>
            </a:extLst>
          </p:cNvPr>
          <p:cNvSpPr txBox="1"/>
          <p:nvPr/>
        </p:nvSpPr>
        <p:spPr>
          <a:xfrm>
            <a:off x="4059007" y="3094467"/>
            <a:ext cx="62059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Local &amp; Regional Level Implementation Activities</a:t>
            </a:r>
          </a:p>
        </p:txBody>
      </p:sp>
      <p:pic>
        <p:nvPicPr>
          <p:cNvPr id="10" name="Graphic 9" descr="Magnifying glass with solid fill">
            <a:extLst>
              <a:ext uri="{FF2B5EF4-FFF2-40B4-BE49-F238E27FC236}">
                <a16:creationId xmlns:a16="http://schemas.microsoft.com/office/drawing/2014/main" id="{1B362EE1-97D9-62E6-ACBE-386F1F3559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74275" y="1491135"/>
            <a:ext cx="914400" cy="914400"/>
          </a:xfrm>
          <a:prstGeom prst="rect">
            <a:avLst/>
          </a:prstGeom>
        </p:spPr>
      </p:pic>
      <p:pic>
        <p:nvPicPr>
          <p:cNvPr id="14" name="Graphic 13" descr="Map with pin with solid fill">
            <a:extLst>
              <a:ext uri="{FF2B5EF4-FFF2-40B4-BE49-F238E27FC236}">
                <a16:creationId xmlns:a16="http://schemas.microsoft.com/office/drawing/2014/main" id="{787EC88A-AE6E-EF19-C7AF-79BF184A8F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45324" y="2898922"/>
            <a:ext cx="1240880" cy="1240880"/>
          </a:xfrm>
          <a:prstGeom prst="rect">
            <a:avLst/>
          </a:prstGeom>
        </p:spPr>
      </p:pic>
      <p:pic>
        <p:nvPicPr>
          <p:cNvPr id="18" name="Graphic 17" descr="Globe outline">
            <a:extLst>
              <a:ext uri="{FF2B5EF4-FFF2-40B4-BE49-F238E27FC236}">
                <a16:creationId xmlns:a16="http://schemas.microsoft.com/office/drawing/2014/main" id="{E69A2E9E-D331-C217-946B-68125D78B5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74275" y="4480789"/>
            <a:ext cx="1111927" cy="111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5476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C422B-A2BA-0303-5DCA-DD0C6265B5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76218-EC6A-22C2-4A59-DCDF0DCAD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on Agenda Timeline 2025-2026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BDECE8-A7DF-13B8-CD25-5C79A0505763}"/>
              </a:ext>
            </a:extLst>
          </p:cNvPr>
          <p:cNvSpPr/>
          <p:nvPr/>
        </p:nvSpPr>
        <p:spPr>
          <a:xfrm>
            <a:off x="445171" y="2951332"/>
            <a:ext cx="11285613" cy="346494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904B43C-D9F1-11B7-2640-DD4135A25F34}"/>
              </a:ext>
            </a:extLst>
          </p:cNvPr>
          <p:cNvGrpSpPr/>
          <p:nvPr/>
        </p:nvGrpSpPr>
        <p:grpSpPr>
          <a:xfrm>
            <a:off x="2363996" y="3302964"/>
            <a:ext cx="199291" cy="608197"/>
            <a:chOff x="1946031" y="2357742"/>
            <a:chExt cx="199291" cy="60819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F44156D7-BA04-1E59-EACF-D8B451D9237D}"/>
                </a:ext>
              </a:extLst>
            </p:cNvPr>
            <p:cNvCxnSpPr/>
            <p:nvPr/>
          </p:nvCxnSpPr>
          <p:spPr>
            <a:xfrm>
              <a:off x="2051539" y="2357742"/>
              <a:ext cx="0" cy="433754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72B4BE4B-523C-459D-4F14-61D38836D7F6}"/>
                </a:ext>
              </a:extLst>
            </p:cNvPr>
            <p:cNvSpPr/>
            <p:nvPr/>
          </p:nvSpPr>
          <p:spPr>
            <a:xfrm>
              <a:off x="1946031" y="2766648"/>
              <a:ext cx="199291" cy="199291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104CDC0-B3C8-B6E4-140D-9731ACA4CC02}"/>
              </a:ext>
            </a:extLst>
          </p:cNvPr>
          <p:cNvSpPr txBox="1"/>
          <p:nvPr/>
        </p:nvSpPr>
        <p:spPr>
          <a:xfrm>
            <a:off x="1598990" y="2961117"/>
            <a:ext cx="12475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ptemb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C9EEFD-026A-B234-E3B5-A1EA461D5AF6}"/>
              </a:ext>
            </a:extLst>
          </p:cNvPr>
          <p:cNvSpPr txBox="1"/>
          <p:nvPr/>
        </p:nvSpPr>
        <p:spPr>
          <a:xfrm>
            <a:off x="638007" y="2965391"/>
            <a:ext cx="6238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Jul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39AB02-FFD9-6E94-D651-AE2CE1FE7084}"/>
              </a:ext>
            </a:extLst>
          </p:cNvPr>
          <p:cNvSpPr txBox="1"/>
          <p:nvPr/>
        </p:nvSpPr>
        <p:spPr>
          <a:xfrm>
            <a:off x="3590756" y="3648674"/>
            <a:ext cx="3131288" cy="210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unity Health Assessment (CHA) due for Local Health Departmen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unity Health Needs Assessment (CHNA) &amp; Community Service Plan (CSP) for Hospita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8DB71F-B403-7A2E-2249-E2AE392894FD}"/>
              </a:ext>
            </a:extLst>
          </p:cNvPr>
          <p:cNvSpPr txBox="1"/>
          <p:nvPr/>
        </p:nvSpPr>
        <p:spPr>
          <a:xfrm>
            <a:off x="251805" y="1100764"/>
            <a:ext cx="1581403" cy="1241622"/>
          </a:xfrm>
          <a:prstGeom prst="rect">
            <a:avLst/>
          </a:prstGeom>
          <a:noFill/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ate Health Improvement Plan (SHIP) Approved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FB5BFB1-65B3-DFE9-1E0F-FD79E4B63DF0}"/>
              </a:ext>
            </a:extLst>
          </p:cNvPr>
          <p:cNvGrpSpPr/>
          <p:nvPr/>
        </p:nvGrpSpPr>
        <p:grpSpPr>
          <a:xfrm>
            <a:off x="903718" y="2314509"/>
            <a:ext cx="199291" cy="642571"/>
            <a:chOff x="3657597" y="1586219"/>
            <a:chExt cx="199291" cy="642571"/>
          </a:xfrm>
          <a:solidFill>
            <a:srgbClr val="7030A0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DD3EA83-3B34-A368-EE5B-A3EEE32060C8}"/>
                </a:ext>
              </a:extLst>
            </p:cNvPr>
            <p:cNvSpPr/>
            <p:nvPr/>
          </p:nvSpPr>
          <p:spPr>
            <a:xfrm>
              <a:off x="3657597" y="1586219"/>
              <a:ext cx="199291" cy="199291"/>
            </a:xfrm>
            <a:prstGeom prst="ellipse">
              <a:avLst/>
            </a:prstGeom>
            <a:grp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A7EE111-1E8B-FE63-FE27-DB375A56EF00}"/>
                </a:ext>
              </a:extLst>
            </p:cNvPr>
            <p:cNvCxnSpPr/>
            <p:nvPr/>
          </p:nvCxnSpPr>
          <p:spPr>
            <a:xfrm>
              <a:off x="3757242" y="1795036"/>
              <a:ext cx="0" cy="433754"/>
            </a:xfrm>
            <a:prstGeom prst="line">
              <a:avLst/>
            </a:prstGeom>
            <a:grpFill/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2B3598CC-4DC8-6D60-3548-C423617A7DBF}"/>
              </a:ext>
            </a:extLst>
          </p:cNvPr>
          <p:cNvSpPr txBox="1"/>
          <p:nvPr/>
        </p:nvSpPr>
        <p:spPr>
          <a:xfrm>
            <a:off x="10517688" y="3934692"/>
            <a:ext cx="1512279" cy="954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nual Progress Repor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E077EEB-20D2-18B2-A4BD-475241A93B5B}"/>
              </a:ext>
            </a:extLst>
          </p:cNvPr>
          <p:cNvGrpSpPr/>
          <p:nvPr/>
        </p:nvGrpSpPr>
        <p:grpSpPr>
          <a:xfrm>
            <a:off x="11168463" y="3308806"/>
            <a:ext cx="199291" cy="608197"/>
            <a:chOff x="1946031" y="2357742"/>
            <a:chExt cx="199291" cy="608197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2BADA609-159C-E09C-4A69-74390B8911BE}"/>
                </a:ext>
              </a:extLst>
            </p:cNvPr>
            <p:cNvCxnSpPr/>
            <p:nvPr/>
          </p:nvCxnSpPr>
          <p:spPr>
            <a:xfrm>
              <a:off x="2051539" y="2357742"/>
              <a:ext cx="0" cy="433754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1E55A59-84C7-CF2D-4AE2-9B371CFC82D0}"/>
                </a:ext>
              </a:extLst>
            </p:cNvPr>
            <p:cNvSpPr/>
            <p:nvPr/>
          </p:nvSpPr>
          <p:spPr>
            <a:xfrm>
              <a:off x="1946031" y="2766648"/>
              <a:ext cx="199291" cy="199291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F0F80B3F-374D-0A8F-A9C5-DB97B3E1FF55}"/>
              </a:ext>
            </a:extLst>
          </p:cNvPr>
          <p:cNvSpPr txBox="1"/>
          <p:nvPr/>
        </p:nvSpPr>
        <p:spPr>
          <a:xfrm>
            <a:off x="5842294" y="2928922"/>
            <a:ext cx="22562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cember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49552D8-FCF4-CDC2-20EF-49D67272669F}"/>
              </a:ext>
            </a:extLst>
          </p:cNvPr>
          <p:cNvSpPr txBox="1"/>
          <p:nvPr/>
        </p:nvSpPr>
        <p:spPr>
          <a:xfrm>
            <a:off x="10001094" y="2925660"/>
            <a:ext cx="1783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cember 202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3EBF6B-07E0-56C3-B3AD-E0DBDA312B94}"/>
              </a:ext>
            </a:extLst>
          </p:cNvPr>
          <p:cNvSpPr txBox="1"/>
          <p:nvPr/>
        </p:nvSpPr>
        <p:spPr>
          <a:xfrm>
            <a:off x="653448" y="3607063"/>
            <a:ext cx="2201853" cy="2103589"/>
          </a:xfrm>
          <a:prstGeom prst="rect">
            <a:avLst/>
          </a:prstGeom>
          <a:noFill/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chnical Assistance Webinar for Local Health Departments &amp; Hospitals (n=375/201)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E587C7-C61B-9C0E-3BE4-6300169CC970}"/>
              </a:ext>
            </a:extLst>
          </p:cNvPr>
          <p:cNvGrpSpPr/>
          <p:nvPr/>
        </p:nvGrpSpPr>
        <p:grpSpPr>
          <a:xfrm>
            <a:off x="6203038" y="3308806"/>
            <a:ext cx="199291" cy="608197"/>
            <a:chOff x="1946031" y="2357742"/>
            <a:chExt cx="199291" cy="60819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98C2CC5-46CC-00B0-C966-6717831A4116}"/>
                </a:ext>
              </a:extLst>
            </p:cNvPr>
            <p:cNvCxnSpPr/>
            <p:nvPr/>
          </p:nvCxnSpPr>
          <p:spPr>
            <a:xfrm>
              <a:off x="2051539" y="2357742"/>
              <a:ext cx="0" cy="433754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18F3B89-9700-C320-6214-6787E9F2127C}"/>
                </a:ext>
              </a:extLst>
            </p:cNvPr>
            <p:cNvSpPr/>
            <p:nvPr/>
          </p:nvSpPr>
          <p:spPr>
            <a:xfrm>
              <a:off x="1946031" y="2766648"/>
              <a:ext cx="199291" cy="199291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FA0B2D31-BC32-D887-C073-1ACFEA6AF5C7}"/>
              </a:ext>
            </a:extLst>
          </p:cNvPr>
          <p:cNvSpPr txBox="1"/>
          <p:nvPr/>
        </p:nvSpPr>
        <p:spPr>
          <a:xfrm>
            <a:off x="4101077" y="2934934"/>
            <a:ext cx="1714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vemb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612CF-1320-E6AC-0F4E-73B35B3E99E8}"/>
              </a:ext>
            </a:extLst>
          </p:cNvPr>
          <p:cNvGrpSpPr/>
          <p:nvPr/>
        </p:nvGrpSpPr>
        <p:grpSpPr>
          <a:xfrm>
            <a:off x="4904947" y="2300180"/>
            <a:ext cx="199291" cy="642571"/>
            <a:chOff x="3657597" y="1586219"/>
            <a:chExt cx="199291" cy="642571"/>
          </a:xfrm>
          <a:solidFill>
            <a:srgbClr val="7030A0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998B4B6E-3B38-4ED7-F5BB-A548EDDD535E}"/>
                </a:ext>
              </a:extLst>
            </p:cNvPr>
            <p:cNvSpPr/>
            <p:nvPr/>
          </p:nvSpPr>
          <p:spPr>
            <a:xfrm>
              <a:off x="3657597" y="1586219"/>
              <a:ext cx="199291" cy="199291"/>
            </a:xfrm>
            <a:prstGeom prst="ellipse">
              <a:avLst/>
            </a:prstGeom>
            <a:grp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7B6986C-486B-DFEF-3AA6-AB07E746CEC1}"/>
                </a:ext>
              </a:extLst>
            </p:cNvPr>
            <p:cNvCxnSpPr/>
            <p:nvPr/>
          </p:nvCxnSpPr>
          <p:spPr>
            <a:xfrm>
              <a:off x="3757242" y="1795036"/>
              <a:ext cx="0" cy="433754"/>
            </a:xfrm>
            <a:prstGeom prst="line">
              <a:avLst/>
            </a:prstGeom>
            <a:grpFill/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074E0E93-8F3B-F504-9206-BAF8A4A85938}"/>
              </a:ext>
            </a:extLst>
          </p:cNvPr>
          <p:cNvSpPr txBox="1"/>
          <p:nvPr/>
        </p:nvSpPr>
        <p:spPr>
          <a:xfrm>
            <a:off x="4304840" y="1060441"/>
            <a:ext cx="2482973" cy="1528945"/>
          </a:xfrm>
          <a:prstGeom prst="rect">
            <a:avLst/>
          </a:prstGeom>
          <a:noFill/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ffice of Health Equity&amp; Human Rights (OHEHR) Interagency Task Force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48A3140-175D-0E46-83F8-5154C5E32132}"/>
              </a:ext>
            </a:extLst>
          </p:cNvPr>
          <p:cNvGrpSpPr/>
          <p:nvPr/>
        </p:nvGrpSpPr>
        <p:grpSpPr>
          <a:xfrm>
            <a:off x="8472184" y="3308806"/>
            <a:ext cx="199291" cy="608197"/>
            <a:chOff x="1946031" y="2357742"/>
            <a:chExt cx="199291" cy="608197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B53E754-C259-D24E-54A1-931663E606ED}"/>
                </a:ext>
              </a:extLst>
            </p:cNvPr>
            <p:cNvCxnSpPr/>
            <p:nvPr/>
          </p:nvCxnSpPr>
          <p:spPr>
            <a:xfrm>
              <a:off x="2051539" y="2357742"/>
              <a:ext cx="0" cy="433754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C86429B-D0C6-D44D-0960-5F546AF5FBEC}"/>
                </a:ext>
              </a:extLst>
            </p:cNvPr>
            <p:cNvSpPr/>
            <p:nvPr/>
          </p:nvSpPr>
          <p:spPr>
            <a:xfrm>
              <a:off x="1946031" y="2766648"/>
              <a:ext cx="199291" cy="199291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2B6BAA8E-6EEA-F32F-CA14-DA866DB3BA60}"/>
              </a:ext>
            </a:extLst>
          </p:cNvPr>
          <p:cNvSpPr txBox="1"/>
          <p:nvPr/>
        </p:nvSpPr>
        <p:spPr>
          <a:xfrm>
            <a:off x="7602873" y="3883134"/>
            <a:ext cx="1937911" cy="1816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unity Health Improvement Plan (CHIP) due for Local Health Department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1001870-CAB2-B70C-1BB2-3FC19F8747E0}"/>
              </a:ext>
            </a:extLst>
          </p:cNvPr>
          <p:cNvSpPr txBox="1"/>
          <p:nvPr/>
        </p:nvSpPr>
        <p:spPr>
          <a:xfrm>
            <a:off x="7961485" y="2940352"/>
            <a:ext cx="22562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9CD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June 2026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2FB6D31-F305-BFE6-7EDF-72E3546E0830}"/>
              </a:ext>
            </a:extLst>
          </p:cNvPr>
          <p:cNvGrpSpPr/>
          <p:nvPr/>
        </p:nvGrpSpPr>
        <p:grpSpPr>
          <a:xfrm>
            <a:off x="7783797" y="2298559"/>
            <a:ext cx="199291" cy="642571"/>
            <a:chOff x="3657597" y="1586219"/>
            <a:chExt cx="199291" cy="642571"/>
          </a:xfrm>
          <a:solidFill>
            <a:srgbClr val="7030A0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16532033-4426-CE34-152C-CD4A7B9DE5A0}"/>
                </a:ext>
              </a:extLst>
            </p:cNvPr>
            <p:cNvSpPr/>
            <p:nvPr/>
          </p:nvSpPr>
          <p:spPr>
            <a:xfrm>
              <a:off x="3657597" y="1586219"/>
              <a:ext cx="199291" cy="199291"/>
            </a:xfrm>
            <a:prstGeom prst="ellipse">
              <a:avLst/>
            </a:prstGeom>
            <a:grp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08D28CB-943E-EB5C-4E7A-B7DA6795569B}"/>
                </a:ext>
              </a:extLst>
            </p:cNvPr>
            <p:cNvCxnSpPr/>
            <p:nvPr/>
          </p:nvCxnSpPr>
          <p:spPr>
            <a:xfrm>
              <a:off x="3757242" y="1795036"/>
              <a:ext cx="0" cy="433754"/>
            </a:xfrm>
            <a:prstGeom prst="line">
              <a:avLst/>
            </a:prstGeom>
            <a:grpFill/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9A7585AD-6B8B-E4EA-A17D-BAAB8A4F2327}"/>
              </a:ext>
            </a:extLst>
          </p:cNvPr>
          <p:cNvSpPr txBox="1"/>
          <p:nvPr/>
        </p:nvSpPr>
        <p:spPr>
          <a:xfrm>
            <a:off x="7080674" y="1561295"/>
            <a:ext cx="2962282" cy="666977"/>
          </a:xfrm>
          <a:prstGeom prst="rect">
            <a:avLst/>
          </a:prstGeom>
          <a:noFill/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1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highlight>
                  <a:srgbClr val="FFFFFF"/>
                </a:highlight>
                <a:uLnTx/>
                <a:uFillTx/>
                <a:latin typeface="Arial"/>
                <a:cs typeface="Arial"/>
                <a:sym typeface="Arial"/>
              </a:rPr>
              <a:t>Refresh of the Ad Hoc Committee Membership</a:t>
            </a:r>
            <a:endParaRPr kumimoji="0" lang="en-US" sz="1867" b="1" i="1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highlight>
                <a:srgbClr val="FFFFFF"/>
              </a:highlight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FDB7CD-B054-D903-FC51-47A0772B6201}"/>
              </a:ext>
            </a:extLst>
          </p:cNvPr>
          <p:cNvSpPr txBox="1"/>
          <p:nvPr/>
        </p:nvSpPr>
        <p:spPr>
          <a:xfrm>
            <a:off x="3006031" y="2947103"/>
            <a:ext cx="12475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b="1" dirty="0">
                <a:solidFill>
                  <a:srgbClr val="F9CD00"/>
                </a:solidFill>
              </a:rPr>
              <a:t>October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9CD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590ABF-1743-4E7D-F482-D887EDADCE56}"/>
              </a:ext>
            </a:extLst>
          </p:cNvPr>
          <p:cNvSpPr txBox="1"/>
          <p:nvPr/>
        </p:nvSpPr>
        <p:spPr>
          <a:xfrm>
            <a:off x="362279" y="3237157"/>
            <a:ext cx="893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619BE-FE3B-9A0E-6BBB-48CFBF9EADED}"/>
              </a:ext>
            </a:extLst>
          </p:cNvPr>
          <p:cNvSpPr txBox="1"/>
          <p:nvPr/>
        </p:nvSpPr>
        <p:spPr>
          <a:xfrm>
            <a:off x="6817943" y="3232897"/>
            <a:ext cx="893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E83C4AA-9ABE-F7EF-4BD8-098FBFE6A96A}"/>
              </a:ext>
            </a:extLst>
          </p:cNvPr>
          <p:cNvSpPr txBox="1"/>
          <p:nvPr/>
        </p:nvSpPr>
        <p:spPr>
          <a:xfrm>
            <a:off x="2609999" y="1079989"/>
            <a:ext cx="1581403" cy="1241622"/>
          </a:xfrm>
          <a:prstGeom prst="rect">
            <a:avLst/>
          </a:prstGeom>
          <a:noFill/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ate Health Assessment (SHA) Approved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A45632-2347-75B7-0ECE-4FE76B7838F6}"/>
              </a:ext>
            </a:extLst>
          </p:cNvPr>
          <p:cNvGrpSpPr/>
          <p:nvPr/>
        </p:nvGrpSpPr>
        <p:grpSpPr>
          <a:xfrm>
            <a:off x="3328758" y="2293327"/>
            <a:ext cx="199291" cy="642571"/>
            <a:chOff x="3657597" y="1586219"/>
            <a:chExt cx="199291" cy="642571"/>
          </a:xfrm>
          <a:solidFill>
            <a:srgbClr val="7030A0"/>
          </a:solidFill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C9511BD-EABE-7B86-1AEB-4800FD221D15}"/>
                </a:ext>
              </a:extLst>
            </p:cNvPr>
            <p:cNvSpPr/>
            <p:nvPr/>
          </p:nvSpPr>
          <p:spPr>
            <a:xfrm>
              <a:off x="3657597" y="1586219"/>
              <a:ext cx="199291" cy="199291"/>
            </a:xfrm>
            <a:prstGeom prst="ellipse">
              <a:avLst/>
            </a:prstGeom>
            <a:grp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1B3AC16-AA18-4C39-7B51-16E173A657A6}"/>
                </a:ext>
              </a:extLst>
            </p:cNvPr>
            <p:cNvCxnSpPr/>
            <p:nvPr/>
          </p:nvCxnSpPr>
          <p:spPr>
            <a:xfrm>
              <a:off x="3757242" y="1795036"/>
              <a:ext cx="0" cy="433754"/>
            </a:xfrm>
            <a:prstGeom prst="line">
              <a:avLst/>
            </a:prstGeom>
            <a:grpFill/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625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757C3-7324-090E-D228-A7F0747630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b="1" dirty="0"/>
              <a:t>State Health Assessment</a:t>
            </a:r>
          </a:p>
          <a:p>
            <a:pPr marL="0" indent="0" algn="ctr">
              <a:buNone/>
            </a:pPr>
            <a:r>
              <a:rPr lang="en-US" sz="6000" b="1" dirty="0"/>
              <a:t> (SHA)</a:t>
            </a:r>
          </a:p>
        </p:txBody>
      </p:sp>
    </p:spTree>
    <p:extLst>
      <p:ext uri="{BB962C8B-B14F-4D97-AF65-F5344CB8AC3E}">
        <p14:creationId xmlns:p14="http://schemas.microsoft.com/office/powerpoint/2010/main" val="6222616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759E24-DA87-66AC-56A4-C3F999F52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1335C-DDCA-B29D-6621-444D48229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OVERVIEW OF THE STATE HEALTH ASSESS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DCD45B-8BEE-6FE0-3935-6376EC1976D8}"/>
              </a:ext>
            </a:extLst>
          </p:cNvPr>
          <p:cNvSpPr txBox="1"/>
          <p:nvPr/>
        </p:nvSpPr>
        <p:spPr>
          <a:xfrm>
            <a:off x="302219" y="941785"/>
            <a:ext cx="11218985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Followed national </a:t>
            </a:r>
            <a:r>
              <a:rPr lang="en-US" sz="2800" dirty="0">
                <a:hlinkClick r:id="rId3"/>
              </a:rPr>
              <a:t>Association of State and Territorial Health Officials (ASTHO) Model</a:t>
            </a:r>
            <a:endParaRPr lang="en-US" sz="28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Ensured meeting of </a:t>
            </a:r>
            <a:r>
              <a:rPr lang="en-US" sz="2800" b="1" dirty="0"/>
              <a:t>Public Health Accreditation Board (PHAB) require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09CB8C-32DC-A57C-82C7-BBFC6F3A9296}"/>
              </a:ext>
            </a:extLst>
          </p:cNvPr>
          <p:cNvSpPr txBox="1"/>
          <p:nvPr/>
        </p:nvSpPr>
        <p:spPr>
          <a:xfrm>
            <a:off x="595882" y="3054096"/>
            <a:ext cx="11000232" cy="2708434"/>
          </a:xfrm>
          <a:prstGeom prst="rect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b="1" dirty="0">
                <a:solidFill>
                  <a:schemeClr val="accent6"/>
                </a:solidFill>
              </a:rPr>
              <a:t>The State Health Assessment process identifies &amp; describes:</a:t>
            </a:r>
          </a:p>
          <a:p>
            <a:pPr>
              <a:spcAft>
                <a:spcPts val="1200"/>
              </a:spcAft>
            </a:pPr>
            <a:r>
              <a:rPr lang="en-US" sz="2800" dirty="0"/>
              <a:t>• The </a:t>
            </a:r>
            <a:r>
              <a:rPr lang="en-US" sz="2800" b="1" dirty="0"/>
              <a:t>health of the population</a:t>
            </a:r>
            <a:r>
              <a:rPr lang="en-US" sz="2800" dirty="0"/>
              <a:t> and </a:t>
            </a:r>
            <a:r>
              <a:rPr lang="en-US" sz="2800" b="1" dirty="0"/>
              <a:t>areas for health improvement</a:t>
            </a:r>
            <a:endParaRPr lang="en-US" sz="2800" dirty="0"/>
          </a:p>
          <a:p>
            <a:pPr>
              <a:spcAft>
                <a:spcPts val="1200"/>
              </a:spcAft>
            </a:pPr>
            <a:r>
              <a:rPr lang="en-US" sz="2800" dirty="0"/>
              <a:t>• </a:t>
            </a:r>
            <a:r>
              <a:rPr lang="en-US" sz="2800" b="1" dirty="0"/>
              <a:t>Contributing factors</a:t>
            </a:r>
            <a:r>
              <a:rPr lang="en-US" sz="2800" dirty="0"/>
              <a:t> that affect health outcomes</a:t>
            </a:r>
          </a:p>
          <a:p>
            <a:pPr>
              <a:spcAft>
                <a:spcPts val="1200"/>
              </a:spcAft>
            </a:pPr>
            <a:r>
              <a:rPr lang="en-US" sz="2800" dirty="0"/>
              <a:t>• Existing </a:t>
            </a:r>
            <a:r>
              <a:rPr lang="en-US" sz="2800" b="1" dirty="0"/>
              <a:t>state assets and resources</a:t>
            </a:r>
            <a:r>
              <a:rPr lang="en-US" sz="2800" dirty="0"/>
              <a:t> that can be used to address health needs</a:t>
            </a:r>
          </a:p>
        </p:txBody>
      </p:sp>
    </p:spTree>
    <p:extLst>
      <p:ext uri="{BB962C8B-B14F-4D97-AF65-F5344CB8AC3E}">
        <p14:creationId xmlns:p14="http://schemas.microsoft.com/office/powerpoint/2010/main" val="1770964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4606F-E280-932D-4CE2-E5E957C51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DESCRIPTION OF POPUL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03CDF44-8BAB-6CBB-3080-94A3A5EC5FCE}"/>
              </a:ext>
            </a:extLst>
          </p:cNvPr>
          <p:cNvGrpSpPr/>
          <p:nvPr/>
        </p:nvGrpSpPr>
        <p:grpSpPr>
          <a:xfrm>
            <a:off x="576642" y="1261022"/>
            <a:ext cx="6943297" cy="3680445"/>
            <a:chOff x="2606610" y="1395639"/>
            <a:chExt cx="6943297" cy="3680445"/>
          </a:xfrm>
        </p:grpSpPr>
        <p:pic>
          <p:nvPicPr>
            <p:cNvPr id="4" name="Content Placeholder 2" descr="Diagram&#10;&#10;Description automatically generated">
              <a:extLst>
                <a:ext uri="{FF2B5EF4-FFF2-40B4-BE49-F238E27FC236}">
                  <a16:creationId xmlns:a16="http://schemas.microsoft.com/office/drawing/2014/main" id="{3382C234-C773-4036-E6BD-514B62B0F0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9704" y="1395639"/>
              <a:ext cx="3349204" cy="3680445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94A2AB2-EE90-AC08-7CDE-B2B48CC76A17}"/>
                </a:ext>
              </a:extLst>
            </p:cNvPr>
            <p:cNvGrpSpPr/>
            <p:nvPr/>
          </p:nvGrpSpPr>
          <p:grpSpPr>
            <a:xfrm>
              <a:off x="2606610" y="3538986"/>
              <a:ext cx="1435608" cy="1316736"/>
              <a:chOff x="5093208" y="4581144"/>
              <a:chExt cx="1435608" cy="1316736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B0405830-BB89-51E3-AE52-C5B3DA6A2BA7}"/>
                  </a:ext>
                </a:extLst>
              </p:cNvPr>
              <p:cNvSpPr/>
              <p:nvPr/>
            </p:nvSpPr>
            <p:spPr>
              <a:xfrm>
                <a:off x="5093208" y="4581144"/>
                <a:ext cx="1435608" cy="1316736"/>
              </a:xfrm>
              <a:prstGeom prst="ellipse">
                <a:avLst/>
              </a:prstGeom>
              <a:solidFill>
                <a:srgbClr val="00CC99"/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EE1DAA3-D3CF-DDE5-F3DD-2D727C230C05}"/>
                  </a:ext>
                </a:extLst>
              </p:cNvPr>
              <p:cNvSpPr txBox="1"/>
              <p:nvPr/>
            </p:nvSpPr>
            <p:spPr>
              <a:xfrm>
                <a:off x="5125212" y="4605775"/>
                <a:ext cx="13716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Economic Stability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52177AB-FD67-1819-685D-36B253D49F2A}"/>
                </a:ext>
              </a:extLst>
            </p:cNvPr>
            <p:cNvGrpSpPr/>
            <p:nvPr/>
          </p:nvGrpSpPr>
          <p:grpSpPr>
            <a:xfrm>
              <a:off x="2606610" y="1626025"/>
              <a:ext cx="1435608" cy="1316736"/>
              <a:chOff x="5093208" y="4581144"/>
              <a:chExt cx="1435608" cy="1316736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3696B1D-C79E-2E08-993C-8BA49BA8FF53}"/>
                  </a:ext>
                </a:extLst>
              </p:cNvPr>
              <p:cNvSpPr/>
              <p:nvPr/>
            </p:nvSpPr>
            <p:spPr>
              <a:xfrm>
                <a:off x="5093208" y="4581144"/>
                <a:ext cx="1435608" cy="1316736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3CF417E-B2C8-7B5A-15E7-76320E9D79B7}"/>
                  </a:ext>
                </a:extLst>
              </p:cNvPr>
              <p:cNvSpPr txBox="1"/>
              <p:nvPr/>
            </p:nvSpPr>
            <p:spPr>
              <a:xfrm>
                <a:off x="5157216" y="4803672"/>
                <a:ext cx="13716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Education Access &amp; Quality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A4BE846-F1A8-4665-D863-5DDA51714D5B}"/>
                </a:ext>
              </a:extLst>
            </p:cNvPr>
            <p:cNvGrpSpPr/>
            <p:nvPr/>
          </p:nvGrpSpPr>
          <p:grpSpPr>
            <a:xfrm>
              <a:off x="7966394" y="1584273"/>
              <a:ext cx="1435608" cy="1340599"/>
              <a:chOff x="5093208" y="4557281"/>
              <a:chExt cx="1435608" cy="1340599"/>
            </a:xfrm>
            <a:solidFill>
              <a:srgbClr val="FF7C80"/>
            </a:solidFill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D9133E6B-E487-A3F6-75BA-1E2297C1D9FB}"/>
                  </a:ext>
                </a:extLst>
              </p:cNvPr>
              <p:cNvSpPr/>
              <p:nvPr/>
            </p:nvSpPr>
            <p:spPr>
              <a:xfrm>
                <a:off x="5093208" y="4581144"/>
                <a:ext cx="1435608" cy="1316736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4A97AC9-9390-002B-72FC-5F798FFEB39A}"/>
                  </a:ext>
                </a:extLst>
              </p:cNvPr>
              <p:cNvSpPr txBox="1"/>
              <p:nvPr/>
            </p:nvSpPr>
            <p:spPr>
              <a:xfrm>
                <a:off x="5135419" y="4557281"/>
                <a:ext cx="137160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Healthcare Access &amp; Quality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AEE715E-3BB9-39EC-88E2-B08E79C120DE}"/>
                </a:ext>
              </a:extLst>
            </p:cNvPr>
            <p:cNvGrpSpPr/>
            <p:nvPr/>
          </p:nvGrpSpPr>
          <p:grpSpPr>
            <a:xfrm>
              <a:off x="7774894" y="3513710"/>
              <a:ext cx="1775013" cy="1316736"/>
              <a:chOff x="4923505" y="4581144"/>
              <a:chExt cx="1775013" cy="1316736"/>
            </a:xfrm>
            <a:solidFill>
              <a:srgbClr val="00B0F0"/>
            </a:solidFill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666A16E-9787-B1BC-635A-5EA359F77535}"/>
                  </a:ext>
                </a:extLst>
              </p:cNvPr>
              <p:cNvSpPr/>
              <p:nvPr/>
            </p:nvSpPr>
            <p:spPr>
              <a:xfrm>
                <a:off x="5093208" y="4581144"/>
                <a:ext cx="1435608" cy="1316736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B85CC56-E003-7D4E-81D4-E963950FD0CC}"/>
                  </a:ext>
                </a:extLst>
              </p:cNvPr>
              <p:cNvSpPr txBox="1"/>
              <p:nvPr/>
            </p:nvSpPr>
            <p:spPr>
              <a:xfrm>
                <a:off x="4923505" y="4600077"/>
                <a:ext cx="1775013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5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Neighborhood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5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rPr>
                  <a:t>&amp; Built Environment</a:t>
                </a: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87E7142-E8AC-4BDA-C338-825B07E66DE6}"/>
              </a:ext>
            </a:extLst>
          </p:cNvPr>
          <p:cNvGrpSpPr/>
          <p:nvPr/>
        </p:nvGrpSpPr>
        <p:grpSpPr>
          <a:xfrm>
            <a:off x="3018760" y="5058260"/>
            <a:ext cx="1775013" cy="1366214"/>
            <a:chOff x="4923505" y="4531666"/>
            <a:chExt cx="1775013" cy="1366214"/>
          </a:xfrm>
          <a:solidFill>
            <a:schemeClr val="accent1"/>
          </a:solidFill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D257F0EB-D611-4AC2-2078-7E9A72BF7508}"/>
                </a:ext>
              </a:extLst>
            </p:cNvPr>
            <p:cNvSpPr/>
            <p:nvPr/>
          </p:nvSpPr>
          <p:spPr>
            <a:xfrm>
              <a:off x="5093208" y="4581144"/>
              <a:ext cx="1435608" cy="1316736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2D0C106-782A-C311-DEBA-D90C3F57AC4E}"/>
                </a:ext>
              </a:extLst>
            </p:cNvPr>
            <p:cNvSpPr txBox="1"/>
            <p:nvPr/>
          </p:nvSpPr>
          <p:spPr>
            <a:xfrm>
              <a:off x="4923505" y="4531666"/>
              <a:ext cx="1775013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Social &amp; Community Context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77F612D0-A941-DF0B-9ABA-EB459632E331}"/>
              </a:ext>
            </a:extLst>
          </p:cNvPr>
          <p:cNvSpPr txBox="1"/>
          <p:nvPr/>
        </p:nvSpPr>
        <p:spPr>
          <a:xfrm>
            <a:off x="7562150" y="1253213"/>
            <a:ext cx="4157958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Demographic intersectionality on </a:t>
            </a:r>
            <a:r>
              <a:rPr lang="en-US" sz="2800" b="1" dirty="0"/>
              <a:t>Social Determinants of Health</a:t>
            </a: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Also includes </a:t>
            </a:r>
            <a:r>
              <a:rPr lang="en-US" sz="2800" b="1" dirty="0"/>
              <a:t>Key Risk Factors</a:t>
            </a:r>
            <a:r>
              <a:rPr lang="en-US" sz="2800" dirty="0"/>
              <a:t> and </a:t>
            </a:r>
            <a:r>
              <a:rPr lang="en-US" sz="2800" b="1" dirty="0"/>
              <a:t>Outcome Measures</a:t>
            </a: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Progress from prior Prevention Cycle </a:t>
            </a:r>
            <a:r>
              <a:rPr lang="en-US" sz="2800" b="1" dirty="0"/>
              <a:t>2019-2024</a:t>
            </a:r>
          </a:p>
        </p:txBody>
      </p:sp>
    </p:spTree>
    <p:extLst>
      <p:ext uri="{BB962C8B-B14F-4D97-AF65-F5344CB8AC3E}">
        <p14:creationId xmlns:p14="http://schemas.microsoft.com/office/powerpoint/2010/main" val="1525139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63973-F801-1F9D-C59F-B267A0109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86225C-A64C-C9E6-E042-3BCACBF02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FINDINGS OF THE STATE HEALTH ASSESS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89BCE5-D92F-FA71-798E-9327FC0232F6}"/>
              </a:ext>
            </a:extLst>
          </p:cNvPr>
          <p:cNvSpPr txBox="1"/>
          <p:nvPr/>
        </p:nvSpPr>
        <p:spPr>
          <a:xfrm>
            <a:off x="649692" y="941785"/>
            <a:ext cx="11297474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Aging </a:t>
            </a:r>
            <a:r>
              <a:rPr lang="en-US" sz="2800" dirty="0"/>
              <a:t>and</a:t>
            </a:r>
            <a:r>
              <a:rPr lang="en-US" sz="2800" b="1" dirty="0"/>
              <a:t> Diverse </a:t>
            </a:r>
            <a:r>
              <a:rPr lang="en-US" sz="2800" dirty="0"/>
              <a:t>Population.</a:t>
            </a:r>
          </a:p>
          <a:p>
            <a:pPr marL="342900" lvl="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Life expectancy</a:t>
            </a:r>
            <a:r>
              <a:rPr lang="en-US" sz="2800" dirty="0"/>
              <a:t> has </a:t>
            </a:r>
            <a:r>
              <a:rPr lang="en-US" sz="2800" b="1" dirty="0"/>
              <a:t>declined</a:t>
            </a:r>
            <a:r>
              <a:rPr lang="en-US" sz="2800" dirty="0"/>
              <a:t> due to serious health threats, such as COVID-19 and the opioid crisis.</a:t>
            </a:r>
          </a:p>
          <a:p>
            <a:pPr marL="342900" lvl="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Chronic diseases</a:t>
            </a:r>
            <a:r>
              <a:rPr lang="en-US" sz="2800" dirty="0"/>
              <a:t>, including cancers and asthma, continue to be a major burden.</a:t>
            </a:r>
          </a:p>
          <a:p>
            <a:pPr marL="342900" lvl="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Access to health care</a:t>
            </a:r>
            <a:r>
              <a:rPr lang="en-US" sz="2800" dirty="0"/>
              <a:t> in New York State has improved, many individuals still face barriers.</a:t>
            </a:r>
          </a:p>
          <a:p>
            <a:pPr marL="342900" lvl="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Significant disparities in health outcomes and social determinants of health </a:t>
            </a:r>
            <a:r>
              <a:rPr lang="en-US" sz="2800" dirty="0"/>
              <a:t>across racial and ethnic categories, education levels, and income levels.</a:t>
            </a:r>
          </a:p>
          <a:p>
            <a:pPr>
              <a:spcAft>
                <a:spcPts val="1500"/>
              </a:spcAft>
            </a:pPr>
            <a:endParaRPr lang="en-US" sz="2800" dirty="0"/>
          </a:p>
          <a:p>
            <a:pPr marL="34290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endParaRPr lang="en-US" sz="3600" dirty="0"/>
          </a:p>
          <a:p>
            <a:pPr marL="342900" indent="-342900">
              <a:spcAft>
                <a:spcPts val="1500"/>
              </a:spcAft>
              <a:buFont typeface="Arial" panose="020B0604020202020204" pitchFamily="34" charset="0"/>
              <a:buChar char="•"/>
            </a:pPr>
            <a:endParaRPr lang="en-US" sz="36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7190BC6-7847-FA29-C429-2CE1B71EBE46}"/>
              </a:ext>
            </a:extLst>
          </p:cNvPr>
          <p:cNvGrpSpPr/>
          <p:nvPr/>
        </p:nvGrpSpPr>
        <p:grpSpPr>
          <a:xfrm>
            <a:off x="495299" y="941785"/>
            <a:ext cx="547118" cy="576119"/>
            <a:chOff x="6731772" y="3443540"/>
            <a:chExt cx="861143" cy="861143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08CD2CB-5066-D0A4-86A8-48A81E5921FF}"/>
                </a:ext>
              </a:extLst>
            </p:cNvPr>
            <p:cNvSpPr/>
            <p:nvPr/>
          </p:nvSpPr>
          <p:spPr>
            <a:xfrm>
              <a:off x="6731772" y="3443540"/>
              <a:ext cx="861143" cy="86114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C8E0CBEB-1AF5-97F7-3869-19DC3E2ED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12648" y="3505200"/>
              <a:ext cx="672793" cy="67279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A1BA7B8-090F-6AEA-2891-821AA7966776}"/>
              </a:ext>
            </a:extLst>
          </p:cNvPr>
          <p:cNvGrpSpPr/>
          <p:nvPr/>
        </p:nvGrpSpPr>
        <p:grpSpPr>
          <a:xfrm>
            <a:off x="469823" y="3666744"/>
            <a:ext cx="572594" cy="527195"/>
            <a:chOff x="1403091" y="3433380"/>
            <a:chExt cx="861143" cy="86114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7FF4B57-E458-2139-20C1-05947F11733D}"/>
                </a:ext>
              </a:extLst>
            </p:cNvPr>
            <p:cNvSpPr/>
            <p:nvPr/>
          </p:nvSpPr>
          <p:spPr>
            <a:xfrm>
              <a:off x="1403091" y="3433380"/>
              <a:ext cx="861143" cy="86114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7FC1A024-FE0C-9D01-EC0F-214F47CCC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5817" y="3603267"/>
              <a:ext cx="545776" cy="545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15285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9F8F3-65AD-EE68-9175-D54675757A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971AC-6642-8EC1-D14F-928C52A99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FINDINGS OF THE STATE HEALTH ASSESS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35A582-569F-7A1E-6439-8B0A876EF4C0}"/>
              </a:ext>
            </a:extLst>
          </p:cNvPr>
          <p:cNvSpPr txBox="1"/>
          <p:nvPr/>
        </p:nvSpPr>
        <p:spPr>
          <a:xfrm>
            <a:off x="274787" y="941785"/>
            <a:ext cx="11667277" cy="7078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Lack of social associations, disconnected youth, and single-parent households </a:t>
            </a:r>
            <a:r>
              <a:rPr lang="en-US" sz="2800" dirty="0"/>
              <a:t>may contribute to poor mental and physical health.</a:t>
            </a: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Obesity, smoking, and lack of physical activity</a:t>
            </a:r>
            <a:r>
              <a:rPr lang="en-US" sz="2800" dirty="0"/>
              <a:t> negatively impact people’s health.</a:t>
            </a: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Teen pregnancy</a:t>
            </a:r>
            <a:r>
              <a:rPr lang="en-US" sz="2800" dirty="0"/>
              <a:t> has declined and </a:t>
            </a:r>
            <a:r>
              <a:rPr lang="en-US" sz="2800" b="1" dirty="0"/>
              <a:t>breastfeeding rates</a:t>
            </a:r>
            <a:r>
              <a:rPr lang="en-US" sz="2800" dirty="0"/>
              <a:t> have improved, but </a:t>
            </a:r>
            <a:r>
              <a:rPr lang="en-US" sz="2800" b="1" dirty="0"/>
              <a:t>infant and maternal health disparities</a:t>
            </a:r>
            <a:r>
              <a:rPr lang="en-US" sz="2800" dirty="0"/>
              <a:t> remain.</a:t>
            </a: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Progress in ending </a:t>
            </a:r>
            <a:r>
              <a:rPr lang="en-US" sz="2800" b="1" dirty="0"/>
              <a:t>acquired immunodeficiency syndrome (AIDS)</a:t>
            </a:r>
            <a:r>
              <a:rPr lang="en-US" sz="2800" dirty="0"/>
              <a:t> but still have relatively high rates of </a:t>
            </a:r>
            <a:r>
              <a:rPr lang="en-US" sz="2800" b="1" dirty="0"/>
              <a:t>sexually transmitted infections (STIs).</a:t>
            </a:r>
            <a:endParaRPr lang="en-US" sz="2800" dirty="0"/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41D363C-ADF3-5954-E464-D55CF3D5B6B6}"/>
              </a:ext>
            </a:extLst>
          </p:cNvPr>
          <p:cNvGrpSpPr/>
          <p:nvPr/>
        </p:nvGrpSpPr>
        <p:grpSpPr>
          <a:xfrm>
            <a:off x="209257" y="3529584"/>
            <a:ext cx="598940" cy="579806"/>
            <a:chOff x="5663109" y="3584543"/>
            <a:chExt cx="861143" cy="861143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C98BDA3-2E27-EED8-C29E-F07CC9F0AAEF}"/>
                </a:ext>
              </a:extLst>
            </p:cNvPr>
            <p:cNvSpPr/>
            <p:nvPr/>
          </p:nvSpPr>
          <p:spPr>
            <a:xfrm>
              <a:off x="5663109" y="3584543"/>
              <a:ext cx="861143" cy="86114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4FF73FBA-F22E-5B94-F0E0-FEC303F69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71245" y="3724779"/>
              <a:ext cx="615841" cy="615841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EABF8FF-7F38-9C21-FF2A-E2FC2793E79E}"/>
              </a:ext>
            </a:extLst>
          </p:cNvPr>
          <p:cNvGrpSpPr/>
          <p:nvPr/>
        </p:nvGrpSpPr>
        <p:grpSpPr>
          <a:xfrm>
            <a:off x="186926" y="941785"/>
            <a:ext cx="623409" cy="579805"/>
            <a:chOff x="6739138" y="4568336"/>
            <a:chExt cx="861143" cy="861143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00EBAA3-C776-7DED-65E5-05C8E9DBAF1C}"/>
                </a:ext>
              </a:extLst>
            </p:cNvPr>
            <p:cNvSpPr/>
            <p:nvPr/>
          </p:nvSpPr>
          <p:spPr>
            <a:xfrm>
              <a:off x="6739138" y="4568336"/>
              <a:ext cx="861143" cy="86114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5A295137-6F9E-6856-8FA5-B44A058A1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888775" y="4690985"/>
              <a:ext cx="615841" cy="6158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97901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448432-BB69-E720-BC6C-A03B6702A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7C8C2-8E99-F2C6-352C-B4877ABBB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PROCESS OF THE STATE HEALTH ASSESSMENT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FC1193C0-1D56-EF0C-664B-626A333081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1759106"/>
              </p:ext>
            </p:extLst>
          </p:nvPr>
        </p:nvGraphicFramePr>
        <p:xfrm>
          <a:off x="-758711" y="110100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FEE5A245-2E28-F866-7178-14CDE6F52EFF}"/>
              </a:ext>
            </a:extLst>
          </p:cNvPr>
          <p:cNvGrpSpPr/>
          <p:nvPr/>
        </p:nvGrpSpPr>
        <p:grpSpPr>
          <a:xfrm>
            <a:off x="6433449" y="3189071"/>
            <a:ext cx="4054718" cy="1569660"/>
            <a:chOff x="8179953" y="3499967"/>
            <a:chExt cx="4054718" cy="1569660"/>
          </a:xfrm>
        </p:grpSpPr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CD1E3209-5E60-794A-EACB-2E42E9BB41A8}"/>
                </a:ext>
              </a:extLst>
            </p:cNvPr>
            <p:cNvSpPr/>
            <p:nvPr/>
          </p:nvSpPr>
          <p:spPr>
            <a:xfrm>
              <a:off x="8179953" y="3709552"/>
              <a:ext cx="1479862" cy="74820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9698611-43C7-CC47-66D3-2FD4B42E1F5B}"/>
                </a:ext>
              </a:extLst>
            </p:cNvPr>
            <p:cNvSpPr txBox="1"/>
            <p:nvPr/>
          </p:nvSpPr>
          <p:spPr>
            <a:xfrm>
              <a:off x="9356178" y="3499967"/>
              <a:ext cx="2878493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Posted on Health Department website October 22</a:t>
              </a:r>
              <a:r>
                <a:rPr lang="en-US" sz="2400" b="1" baseline="30000" dirty="0">
                  <a:solidFill>
                    <a:schemeClr val="bg1"/>
                  </a:solidFill>
                </a:rPr>
                <a:t>nd</a:t>
              </a:r>
              <a:r>
                <a:rPr lang="en-US" sz="2400" b="1" dirty="0">
                  <a:solidFill>
                    <a:schemeClr val="bg1"/>
                  </a:solidFill>
                </a:rPr>
                <a:t>, 2025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5792D34-A8C4-F077-1900-65164DC33891}"/>
              </a:ext>
            </a:extLst>
          </p:cNvPr>
          <p:cNvGrpSpPr/>
          <p:nvPr/>
        </p:nvGrpSpPr>
        <p:grpSpPr>
          <a:xfrm>
            <a:off x="6433449" y="1280598"/>
            <a:ext cx="4113333" cy="1200329"/>
            <a:chOff x="8179953" y="3499967"/>
            <a:chExt cx="4113333" cy="1200329"/>
          </a:xfrm>
        </p:grpSpPr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5A39481F-5DB8-3775-FBDF-C3D1C24F1B21}"/>
                </a:ext>
              </a:extLst>
            </p:cNvPr>
            <p:cNvSpPr/>
            <p:nvPr/>
          </p:nvSpPr>
          <p:spPr>
            <a:xfrm>
              <a:off x="8179953" y="3709552"/>
              <a:ext cx="1479862" cy="74820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0939D95-9391-28E1-ED0C-1B752EB5F449}"/>
                </a:ext>
              </a:extLst>
            </p:cNvPr>
            <p:cNvSpPr txBox="1"/>
            <p:nvPr/>
          </p:nvSpPr>
          <p:spPr>
            <a:xfrm>
              <a:off x="9414793" y="3499967"/>
              <a:ext cx="287849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State-level Implementation Plans for 20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8524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DA4212-F8AE-2D6A-CFA4-FF2A12491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1F2D62-74B9-5483-75F7-30ECE1E63C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tate Health Assessment (SHA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BA565-7338-0E49-2816-F4FCF940AF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b="1" dirty="0">
                <a:solidFill>
                  <a:schemeClr val="accent1"/>
                </a:solidFill>
              </a:rPr>
              <a:t>Questions/Comments?</a:t>
            </a:r>
          </a:p>
        </p:txBody>
      </p:sp>
    </p:spTree>
    <p:extLst>
      <p:ext uri="{BB962C8B-B14F-4D97-AF65-F5344CB8AC3E}">
        <p14:creationId xmlns:p14="http://schemas.microsoft.com/office/powerpoint/2010/main" val="1086450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C01E1E-15EB-F606-B677-AF1F30AF4E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CC36277-1F40-92B3-F9E0-0CFCBFCBC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047" y="941785"/>
            <a:ext cx="11413902" cy="56571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315F86-4F5D-195D-9830-E4DBAF7B2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New York State Department of Healt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CB36DB-8DEF-E080-A1A3-F1838207573C}"/>
              </a:ext>
            </a:extLst>
          </p:cNvPr>
          <p:cNvSpPr/>
          <p:nvPr/>
        </p:nvSpPr>
        <p:spPr>
          <a:xfrm>
            <a:off x="9017978" y="2407993"/>
            <a:ext cx="867507" cy="398585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815D9F-6DCB-753B-21BD-B62771DDD2EA}"/>
              </a:ext>
            </a:extLst>
          </p:cNvPr>
          <p:cNvSpPr txBox="1"/>
          <p:nvPr/>
        </p:nvSpPr>
        <p:spPr>
          <a:xfrm>
            <a:off x="5355526" y="2973854"/>
            <a:ext cx="345385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Office of Public Health </a:t>
            </a:r>
            <a:r>
              <a:rPr lang="en-US" sz="2400" dirty="0"/>
              <a:t>as one of key major units within the New York State Department of Health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A5BB58-7680-1114-9A4C-C8C3C616D7FD}"/>
              </a:ext>
            </a:extLst>
          </p:cNvPr>
          <p:cNvSpPr txBox="1"/>
          <p:nvPr/>
        </p:nvSpPr>
        <p:spPr>
          <a:xfrm>
            <a:off x="184402" y="6219311"/>
            <a:ext cx="6093618" cy="379656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https://www.health.ny.gov/about/docs/org_chart.pdf</a:t>
            </a:r>
          </a:p>
        </p:txBody>
      </p:sp>
    </p:spTree>
    <p:extLst>
      <p:ext uri="{BB962C8B-B14F-4D97-AF65-F5344CB8AC3E}">
        <p14:creationId xmlns:p14="http://schemas.microsoft.com/office/powerpoint/2010/main" val="3303223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D490E-C112-33A1-44DC-314B0720B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64D057-CEDC-6F05-B886-33105A5C45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b="1" dirty="0"/>
              <a:t>Implementation Activities – Local/Regional</a:t>
            </a:r>
          </a:p>
        </p:txBody>
      </p:sp>
    </p:spTree>
    <p:extLst>
      <p:ext uri="{BB962C8B-B14F-4D97-AF65-F5344CB8AC3E}">
        <p14:creationId xmlns:p14="http://schemas.microsoft.com/office/powerpoint/2010/main" val="2463306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F9674-E6CB-0F64-AFCC-8869DD5BF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C9E84-4E7E-1824-171C-F6AC53E39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OMMUNITY PLANNING </a:t>
            </a:r>
            <a:r>
              <a:rPr lang="en-US" dirty="0">
                <a:solidFill>
                  <a:srgbClr val="000000"/>
                </a:solidFill>
              </a:rPr>
              <a:t>SUBMISSION TIMELINE</a:t>
            </a: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10" name="Content Placeholder 9" descr="A diagram of progress report&#10;&#10;AI-generated content may be incorrect.">
            <a:extLst>
              <a:ext uri="{FF2B5EF4-FFF2-40B4-BE49-F238E27FC236}">
                <a16:creationId xmlns:a16="http://schemas.microsoft.com/office/drawing/2014/main" id="{098A11E6-1E7C-B1ED-C571-4B71D29D9CD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0" cy="0"/>
          </a:xfrm>
        </p:spPr>
      </p:pic>
      <p:pic>
        <p:nvPicPr>
          <p:cNvPr id="3" name="Content Placeholder 9" descr="A diagram of progress report&#10;&#10;AI-generated content may be incorrect.">
            <a:extLst>
              <a:ext uri="{FF2B5EF4-FFF2-40B4-BE49-F238E27FC236}">
                <a16:creationId xmlns:a16="http://schemas.microsoft.com/office/drawing/2014/main" id="{523683A8-B8DD-731D-FF22-C7A3167ED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606914"/>
            <a:ext cx="8964011" cy="4932528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1BFC23-4A26-1BC7-A5BB-C9CF82C59626}"/>
              </a:ext>
            </a:extLst>
          </p:cNvPr>
          <p:cNvSpPr txBox="1"/>
          <p:nvPr/>
        </p:nvSpPr>
        <p:spPr>
          <a:xfrm>
            <a:off x="9181427" y="2238524"/>
            <a:ext cx="30105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Local Health Departm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D5BFC0-00A4-52EC-CE81-B04CA58AB2E9}"/>
              </a:ext>
            </a:extLst>
          </p:cNvPr>
          <p:cNvSpPr txBox="1"/>
          <p:nvPr/>
        </p:nvSpPr>
        <p:spPr>
          <a:xfrm>
            <a:off x="9454221" y="4135427"/>
            <a:ext cx="1817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Hospital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5D9E06E-2D85-09CA-8A96-8C7E16FBE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501" y="1476313"/>
            <a:ext cx="8120406" cy="424581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240744D-9B12-AB28-7E64-72129AD603AC}"/>
              </a:ext>
            </a:extLst>
          </p:cNvPr>
          <p:cNvSpPr/>
          <p:nvPr/>
        </p:nvSpPr>
        <p:spPr>
          <a:xfrm>
            <a:off x="688814" y="1839939"/>
            <a:ext cx="867507" cy="1229582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08F5D38-CEE8-22B9-0FA3-307A51C2EADE}"/>
              </a:ext>
            </a:extLst>
          </p:cNvPr>
          <p:cNvSpPr/>
          <p:nvPr/>
        </p:nvSpPr>
        <p:spPr>
          <a:xfrm>
            <a:off x="1750882" y="2369637"/>
            <a:ext cx="867507" cy="1229582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B43399-A7C2-CBA9-D31D-FEA334717C31}"/>
              </a:ext>
            </a:extLst>
          </p:cNvPr>
          <p:cNvSpPr/>
          <p:nvPr/>
        </p:nvSpPr>
        <p:spPr>
          <a:xfrm>
            <a:off x="705501" y="3882486"/>
            <a:ext cx="1491289" cy="1229582"/>
          </a:xfrm>
          <a:prstGeom prst="rect">
            <a:avLst/>
          </a:pr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649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  <p:bldP spid="1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A2F2A-0E50-2A5F-660F-415317D30C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B057D0-E536-3421-35E8-E9BBCCD222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853" y="1417269"/>
            <a:ext cx="9144000" cy="1655762"/>
          </a:xfrm>
        </p:spPr>
        <p:txBody>
          <a:bodyPr>
            <a:normAutofit/>
          </a:bodyPr>
          <a:lstStyle/>
          <a:p>
            <a:r>
              <a:rPr lang="en-US" sz="4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12 Pla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8C3EA82-5F56-724F-5ACF-E10219DA7606}"/>
              </a:ext>
            </a:extLst>
          </p:cNvPr>
          <p:cNvGrpSpPr/>
          <p:nvPr/>
        </p:nvGrpSpPr>
        <p:grpSpPr>
          <a:xfrm>
            <a:off x="2650808" y="2014824"/>
            <a:ext cx="7462393" cy="4037630"/>
            <a:chOff x="2002894" y="2283025"/>
            <a:chExt cx="7462393" cy="403763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A210F3A-FF7C-DC8E-639D-85682A63CB2B}"/>
                </a:ext>
              </a:extLst>
            </p:cNvPr>
            <p:cNvSpPr/>
            <p:nvPr/>
          </p:nvSpPr>
          <p:spPr>
            <a:xfrm>
              <a:off x="4538443" y="2283025"/>
              <a:ext cx="4926844" cy="4037630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2227F8E-5D79-A003-B5B1-43FCFD097F01}"/>
                </a:ext>
              </a:extLst>
            </p:cNvPr>
            <p:cNvSpPr/>
            <p:nvPr/>
          </p:nvSpPr>
          <p:spPr>
            <a:xfrm>
              <a:off x="2002894" y="2520807"/>
              <a:ext cx="4026090" cy="3562066"/>
            </a:xfrm>
            <a:prstGeom prst="ellipse">
              <a:avLst/>
            </a:prstGeom>
            <a:solidFill>
              <a:schemeClr val="accent6">
                <a:lumMod val="40000"/>
                <a:lumOff val="60000"/>
                <a:alpha val="63922"/>
              </a:schemeClr>
            </a:solidFill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7441D63-4DBE-731B-811C-778FD5F25342}"/>
                </a:ext>
              </a:extLst>
            </p:cNvPr>
            <p:cNvSpPr txBox="1"/>
            <p:nvPr/>
          </p:nvSpPr>
          <p:spPr>
            <a:xfrm>
              <a:off x="2491411" y="2506680"/>
              <a:ext cx="2652215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58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ocal Health Departments</a:t>
              </a:r>
              <a:endPara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algn="ctr"/>
              <a:endPara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endParaRPr lang="en-US" sz="2800" dirty="0">
                <a:solidFill>
                  <a:schemeClr val="bg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69C2926-47DA-197A-5843-83A709F412ED}"/>
                </a:ext>
              </a:extLst>
            </p:cNvPr>
            <p:cNvSpPr txBox="1"/>
            <p:nvPr/>
          </p:nvSpPr>
          <p:spPr>
            <a:xfrm>
              <a:off x="5993067" y="2345824"/>
              <a:ext cx="1791056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11 </a:t>
              </a:r>
              <a:r>
                <a:rPr lang="en-US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ospitals/ Systems</a:t>
              </a:r>
              <a:endPara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algn="ctr"/>
              <a:endPara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endParaRPr 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E36CFA8-89E4-BC39-21A8-D7822DDDFE29}"/>
                </a:ext>
              </a:extLst>
            </p:cNvPr>
            <p:cNvSpPr txBox="1"/>
            <p:nvPr/>
          </p:nvSpPr>
          <p:spPr>
            <a:xfrm>
              <a:off x="6323487" y="4071629"/>
              <a:ext cx="2347416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>
                      <a:lumMod val="40000"/>
                      <a:lumOff val="6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59 Hospital Only Community Service Plans (CSPs)</a:t>
              </a:r>
            </a:p>
            <a:p>
              <a:pPr algn="ctr"/>
              <a:endParaRPr lang="en-US" sz="2000" b="1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4725214-48DA-99F7-6F1A-E3CE0498AD5E}"/>
                </a:ext>
              </a:extLst>
            </p:cNvPr>
            <p:cNvSpPr txBox="1"/>
            <p:nvPr/>
          </p:nvSpPr>
          <p:spPr>
            <a:xfrm>
              <a:off x="2413764" y="3761386"/>
              <a:ext cx="2084703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chemeClr val="accent1">
                      <a:lumMod val="40000"/>
                      <a:lumOff val="6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5 Local Health Department Only Community Health Improvement Plans (CHIPS)</a:t>
              </a:r>
            </a:p>
            <a:p>
              <a:endParaRPr lang="en-US" sz="2000" b="1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00814EF-4A15-1B38-47D7-76BC9F6FA000}"/>
                </a:ext>
              </a:extLst>
            </p:cNvPr>
            <p:cNvSpPr txBox="1"/>
            <p:nvPr/>
          </p:nvSpPr>
          <p:spPr>
            <a:xfrm>
              <a:off x="4463351" y="3839668"/>
              <a:ext cx="167324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38 Joint Plans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87E8B6B-7693-3B7F-DD73-325288ABB801}"/>
              </a:ext>
            </a:extLst>
          </p:cNvPr>
          <p:cNvSpPr txBox="1"/>
          <p:nvPr/>
        </p:nvSpPr>
        <p:spPr>
          <a:xfrm>
            <a:off x="288592" y="312110"/>
            <a:ext cx="113993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accent1"/>
                </a:solidFill>
              </a:rPr>
              <a:t>2022-2024</a:t>
            </a:r>
            <a:r>
              <a:rPr lang="en-US" sz="4800" b="1" dirty="0">
                <a:solidFill>
                  <a:schemeClr val="bg1"/>
                </a:solidFill>
              </a:rPr>
              <a:t> Local Planning Summa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C35D98-B2BD-999D-B5A9-CAFE26246D94}"/>
              </a:ext>
            </a:extLst>
          </p:cNvPr>
          <p:cNvSpPr/>
          <p:nvPr/>
        </p:nvSpPr>
        <p:spPr>
          <a:xfrm>
            <a:off x="5333276" y="3571467"/>
            <a:ext cx="1307705" cy="867596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16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D8109-2C19-6B18-D285-D9E52DD636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20EA154-776E-FE03-5A97-99CD592092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25293" y="4571999"/>
            <a:ext cx="5667325" cy="2172028"/>
          </a:xfrm>
        </p:spPr>
        <p:txBody>
          <a:bodyPr>
            <a:normAutofit lnSpcReduction="10000"/>
          </a:bodyPr>
          <a:lstStyle/>
          <a:p>
            <a:pPr algn="l"/>
            <a:r>
              <a:rPr lang="en-US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Single Plans:</a:t>
            </a:r>
          </a:p>
          <a:p>
            <a:pPr algn="l"/>
            <a:r>
              <a:rPr lang="en-US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23 LHDs &amp; 120 Hospitals</a:t>
            </a:r>
          </a:p>
          <a:p>
            <a:pPr algn="l"/>
            <a:endParaRPr lang="en-US" sz="28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  <a:p>
            <a:pPr algn="l"/>
            <a:r>
              <a:rPr lang="en-US" sz="28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Further Analysis will be completed in Summer/Fall 202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E3F667-47DA-CF6C-14E9-F2E1255EA9EB}"/>
              </a:ext>
            </a:extLst>
          </p:cNvPr>
          <p:cNvSpPr txBox="1"/>
          <p:nvPr/>
        </p:nvSpPr>
        <p:spPr>
          <a:xfrm>
            <a:off x="288592" y="312110"/>
            <a:ext cx="113993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accent1"/>
                </a:solidFill>
              </a:rPr>
              <a:t>2026 </a:t>
            </a:r>
            <a:r>
              <a:rPr lang="en-US" sz="4800" b="1" u="sng" dirty="0">
                <a:solidFill>
                  <a:schemeClr val="accent1"/>
                </a:solidFill>
              </a:rPr>
              <a:t>to date </a:t>
            </a:r>
            <a:r>
              <a:rPr lang="en-US" sz="4800" b="1" dirty="0">
                <a:solidFill>
                  <a:schemeClr val="bg1"/>
                </a:solidFill>
              </a:rPr>
              <a:t>Local Planning Summary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2F34ABA-7889-E214-7241-BC28EB4BC6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372133"/>
              </p:ext>
            </p:extLst>
          </p:nvPr>
        </p:nvGraphicFramePr>
        <p:xfrm>
          <a:off x="504092" y="98729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454041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1F0A90-B65A-0950-D2C7-47F0E8354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5 RESOURC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7B00B9-E03D-1F35-9945-7576726EE3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3243" y="3284509"/>
            <a:ext cx="5578585" cy="2568052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sz="2400" b="1" dirty="0"/>
              <a:t>Focus</a:t>
            </a:r>
            <a:r>
              <a:rPr lang="en-US" sz="2400" dirty="0"/>
              <a:t>: Supporting implementation of the 2025–2030 Prevention Agenda</a:t>
            </a:r>
          </a:p>
          <a:p>
            <a:r>
              <a:rPr lang="en-US" sz="2400" b="1" dirty="0">
                <a:cs typeface="Arial"/>
              </a:rPr>
              <a:t>~375</a:t>
            </a:r>
            <a:r>
              <a:rPr lang="en-US" sz="2400" b="1" baseline="30000" dirty="0">
                <a:cs typeface="Arial"/>
              </a:rPr>
              <a:t>+</a:t>
            </a:r>
            <a:r>
              <a:rPr lang="en-US" sz="2400" b="1" dirty="0">
                <a:cs typeface="Arial"/>
              </a:rPr>
              <a:t> </a:t>
            </a:r>
            <a:r>
              <a:rPr lang="en-US" sz="2400" dirty="0">
                <a:cs typeface="Arial"/>
              </a:rPr>
              <a:t>Live attendees</a:t>
            </a:r>
          </a:p>
          <a:p>
            <a:r>
              <a:rPr lang="en-US" sz="2400" b="1" dirty="0">
                <a:cs typeface="Arial"/>
              </a:rPr>
              <a:t>~200</a:t>
            </a:r>
            <a:r>
              <a:rPr lang="en-US" sz="2400" b="1" baseline="30000" dirty="0">
                <a:cs typeface="Arial"/>
              </a:rPr>
              <a:t>+</a:t>
            </a:r>
            <a:r>
              <a:rPr lang="en-US" sz="2400" b="1" dirty="0">
                <a:cs typeface="Arial"/>
              </a:rPr>
              <a:t> </a:t>
            </a:r>
            <a:r>
              <a:rPr lang="en-US" sz="2400" dirty="0">
                <a:cs typeface="Arial"/>
              </a:rPr>
              <a:t>Views of recorded session </a:t>
            </a:r>
            <a:r>
              <a:rPr lang="en-US" sz="1200" i="1" dirty="0">
                <a:cs typeface="Arial"/>
              </a:rPr>
              <a:t>(as of November 18th, 2025)</a:t>
            </a:r>
            <a:endParaRPr lang="en-US" sz="1200" i="1" dirty="0"/>
          </a:p>
        </p:txBody>
      </p:sp>
      <p:pic>
        <p:nvPicPr>
          <p:cNvPr id="6" name="Graphic 5" descr="Daily calendar with solid fill">
            <a:extLst>
              <a:ext uri="{FF2B5EF4-FFF2-40B4-BE49-F238E27FC236}">
                <a16:creationId xmlns:a16="http://schemas.microsoft.com/office/drawing/2014/main" id="{44F9B0A8-3E1C-48B7-6FF8-1873285979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75335" y="1015866"/>
            <a:ext cx="1097280" cy="1097280"/>
          </a:xfrm>
          <a:prstGeom prst="rect">
            <a:avLst/>
          </a:prstGeom>
        </p:spPr>
      </p:pic>
      <p:pic>
        <p:nvPicPr>
          <p:cNvPr id="12" name="Graphic 11" descr="Remote work with solid fill">
            <a:extLst>
              <a:ext uri="{FF2B5EF4-FFF2-40B4-BE49-F238E27FC236}">
                <a16:creationId xmlns:a16="http://schemas.microsoft.com/office/drawing/2014/main" id="{AB359D62-279D-4AD6-7E24-3F6185CD7E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90634" y="1015866"/>
            <a:ext cx="1097280" cy="109728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D3FA74B-4BC1-E27D-8171-8B281C472120}"/>
              </a:ext>
            </a:extLst>
          </p:cNvPr>
          <p:cNvSpPr txBox="1">
            <a:spLocks/>
          </p:cNvSpPr>
          <p:nvPr/>
        </p:nvSpPr>
        <p:spPr>
          <a:xfrm>
            <a:off x="6269800" y="3284507"/>
            <a:ext cx="5577840" cy="290384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5720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17220" marR="0" lvl="1" indent="-356616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74420" marR="0" lvl="2" indent="-43434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>
                <a:latin typeface="+mn-lt"/>
                <a:ea typeface="+mn-ea"/>
                <a:cs typeface="+mn-cs"/>
              </a:rPr>
              <a:t>Focus</a:t>
            </a:r>
            <a:r>
              <a:rPr lang="en-US" sz="2400" dirty="0">
                <a:latin typeface="+mn-lt"/>
                <a:ea typeface="+mn-ea"/>
                <a:cs typeface="+mn-cs"/>
              </a:rPr>
              <a:t>: Technical assistance and capacity building </a:t>
            </a:r>
          </a:p>
          <a:p>
            <a:r>
              <a:rPr lang="en-US" sz="2400" dirty="0">
                <a:latin typeface="+mn-lt"/>
                <a:ea typeface="+mn-ea"/>
                <a:cs typeface="+mn-cs"/>
              </a:rPr>
              <a:t>State-wide effort to support partnerships, health equity incorporation, and implementation</a:t>
            </a:r>
          </a:p>
          <a:p>
            <a:r>
              <a:rPr lang="en-US" sz="2400" dirty="0">
                <a:latin typeface="+mn-lt"/>
                <a:ea typeface="+mn-ea"/>
                <a:cs typeface="+mn-cs"/>
              </a:rPr>
              <a:t>Contract for June–November 2026</a:t>
            </a:r>
            <a:endParaRPr lang="en-US" sz="2400" dirty="0">
              <a:latin typeface="+mn-lt"/>
              <a:ea typeface="+mn-ea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3B7E4B3-F4D9-6052-72A7-3316B3182F0A}"/>
              </a:ext>
            </a:extLst>
          </p:cNvPr>
          <p:cNvSpPr txBox="1">
            <a:spLocks/>
          </p:cNvSpPr>
          <p:nvPr/>
        </p:nvSpPr>
        <p:spPr>
          <a:xfrm>
            <a:off x="495206" y="2168892"/>
            <a:ext cx="5426622" cy="9143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5720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617220" marR="0" lvl="1" indent="-356616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074420" marR="0" lvl="2" indent="-43434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bg1">
                    <a:lumMod val="75000"/>
                  </a:schemeClr>
                </a:solidFill>
              </a:rPr>
              <a:t>Technical Assistance Webina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  <a:hlinkClick r:id="rId7"/>
              </a:rPr>
              <a:t>https://www.health.ny.gov/prevention/prevention_agenda/2025-2030/health_planning.htm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E3C1F-6929-BFDB-87FA-4436E4C7F050}"/>
              </a:ext>
            </a:extLst>
          </p:cNvPr>
          <p:cNvSpPr txBox="1">
            <a:spLocks/>
          </p:cNvSpPr>
          <p:nvPr/>
        </p:nvSpPr>
        <p:spPr>
          <a:xfrm>
            <a:off x="6269428" y="2168892"/>
            <a:ext cx="5578585" cy="9143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5720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617220" marR="0" lvl="1" indent="-356616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1074420" marR="0" lvl="2" indent="-43434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32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2800" b="0" i="0" u="none" strike="noStrike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n-US" sz="2400" b="1" dirty="0">
                <a:solidFill>
                  <a:schemeClr val="bg1">
                    <a:lumMod val="75000"/>
                  </a:schemeClr>
                </a:solidFill>
              </a:rPr>
              <a:t>Local Health Department (LHD) Health Equity Contract</a:t>
            </a:r>
          </a:p>
        </p:txBody>
      </p:sp>
    </p:spTree>
    <p:extLst>
      <p:ext uri="{BB962C8B-B14F-4D97-AF65-F5344CB8AC3E}">
        <p14:creationId xmlns:p14="http://schemas.microsoft.com/office/powerpoint/2010/main" val="5934901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60BF7-5020-D49F-A738-AB3DA5E88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2272C9-851D-1B5F-3BC7-18BD6D4BE0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584853"/>
            <a:ext cx="4308031" cy="5038875"/>
          </a:xfrm>
        </p:spPr>
        <p:txBody>
          <a:bodyPr/>
          <a:lstStyle/>
          <a:p>
            <a:r>
              <a:rPr lang="en-US" dirty="0"/>
              <a:t>Local Implem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38A19-5F7F-B887-4570-98F74FE2C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b="1" dirty="0">
                <a:solidFill>
                  <a:schemeClr val="accent1"/>
                </a:solidFill>
              </a:rPr>
              <a:t>Questions/Comments?</a:t>
            </a:r>
          </a:p>
        </p:txBody>
      </p:sp>
    </p:spTree>
    <p:extLst>
      <p:ext uri="{BB962C8B-B14F-4D97-AF65-F5344CB8AC3E}">
        <p14:creationId xmlns:p14="http://schemas.microsoft.com/office/powerpoint/2010/main" val="11341826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707A42-2160-9D90-F2E3-B0BC3BC0F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ED2CDA-CA65-A218-5130-3561810890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b="1" dirty="0"/>
              <a:t>Implementation Activities – State</a:t>
            </a:r>
          </a:p>
        </p:txBody>
      </p:sp>
    </p:spTree>
    <p:extLst>
      <p:ext uri="{BB962C8B-B14F-4D97-AF65-F5344CB8AC3E}">
        <p14:creationId xmlns:p14="http://schemas.microsoft.com/office/powerpoint/2010/main" val="19575410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9A9671-B054-153D-6421-A1B317026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E726D-517D-DD31-1A9A-6BA0B460B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Implementation​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5417797-803B-DD54-D3DC-B51ECB0E3D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7473697"/>
              </p:ext>
            </p:extLst>
          </p:nvPr>
        </p:nvGraphicFramePr>
        <p:xfrm>
          <a:off x="311427" y="1100811"/>
          <a:ext cx="11463130" cy="4811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Graphic 12" descr="Badge 1 with solid fill">
            <a:extLst>
              <a:ext uri="{FF2B5EF4-FFF2-40B4-BE49-F238E27FC236}">
                <a16:creationId xmlns:a16="http://schemas.microsoft.com/office/drawing/2014/main" id="{FC5C8440-FC15-85CE-E6F4-F78F92580D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086" y="1196075"/>
            <a:ext cx="914400" cy="914400"/>
          </a:xfrm>
          <a:prstGeom prst="rect">
            <a:avLst/>
          </a:prstGeom>
        </p:spPr>
      </p:pic>
      <p:pic>
        <p:nvPicPr>
          <p:cNvPr id="19" name="Graphic 18" descr="Badge 4 with solid fill">
            <a:extLst>
              <a:ext uri="{FF2B5EF4-FFF2-40B4-BE49-F238E27FC236}">
                <a16:creationId xmlns:a16="http://schemas.microsoft.com/office/drawing/2014/main" id="{CC5E1E3C-7291-8166-84DF-08AAC1FD5B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086" y="4839474"/>
            <a:ext cx="914400" cy="914400"/>
          </a:xfrm>
          <a:prstGeom prst="rect">
            <a:avLst/>
          </a:prstGeom>
        </p:spPr>
      </p:pic>
      <p:pic>
        <p:nvPicPr>
          <p:cNvPr id="21" name="Graphic 20" descr="Badge 3 with solid fill">
            <a:extLst>
              <a:ext uri="{FF2B5EF4-FFF2-40B4-BE49-F238E27FC236}">
                <a16:creationId xmlns:a16="http://schemas.microsoft.com/office/drawing/2014/main" id="{2D8A5020-0B9B-F87F-FB74-C94CEB8959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086" y="3643651"/>
            <a:ext cx="914400" cy="914400"/>
          </a:xfrm>
          <a:prstGeom prst="rect">
            <a:avLst/>
          </a:prstGeom>
        </p:spPr>
      </p:pic>
      <p:pic>
        <p:nvPicPr>
          <p:cNvPr id="23" name="Graphic 22" descr="Badge with solid fill">
            <a:extLst>
              <a:ext uri="{FF2B5EF4-FFF2-40B4-BE49-F238E27FC236}">
                <a16:creationId xmlns:a16="http://schemas.microsoft.com/office/drawing/2014/main" id="{88FC17A0-4068-21B2-0521-DEF55E82730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7086" y="2444869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D823637-5E93-FE66-4F80-C59370C2DEB1}"/>
              </a:ext>
            </a:extLst>
          </p:cNvPr>
          <p:cNvSpPr txBox="1"/>
          <p:nvPr/>
        </p:nvSpPr>
        <p:spPr>
          <a:xfrm>
            <a:off x="3833446" y="2444869"/>
            <a:ext cx="7941111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kern="1200" dirty="0"/>
              <a:t>Not-for-profit hospitals information </a:t>
            </a:r>
            <a:r>
              <a:rPr lang="en-US" sz="2400" kern="1200" dirty="0">
                <a:solidFill>
                  <a:srgbClr val="43275D">
                    <a:hueOff val="0"/>
                    <a:satOff val="0"/>
                    <a:lumOff val="0"/>
                    <a:alphaOff val="0"/>
                  </a:srgbClr>
                </a:solidFill>
              </a:rPr>
              <a:t>on how </a:t>
            </a:r>
            <a:r>
              <a:rPr lang="en-US" sz="2400" kern="1200" dirty="0"/>
              <a:t>projects address Prevention Agenda priorities and objectives 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58D232-273B-B3D8-6CF2-F14969CEE076}"/>
              </a:ext>
            </a:extLst>
          </p:cNvPr>
          <p:cNvSpPr txBox="1"/>
          <p:nvPr/>
        </p:nvSpPr>
        <p:spPr>
          <a:xfrm>
            <a:off x="3833446" y="3700701"/>
            <a:ext cx="74558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Non-profit hospitals receive tax exemptions in exchange for reinvesting those funds into community</a:t>
            </a:r>
          </a:p>
          <a:p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0D3674-91EC-E7AB-26D2-9589FEF22CB5}"/>
              </a:ext>
            </a:extLst>
          </p:cNvPr>
          <p:cNvSpPr txBox="1"/>
          <p:nvPr/>
        </p:nvSpPr>
        <p:spPr>
          <a:xfrm>
            <a:off x="3833446" y="4905089"/>
            <a:ext cx="720969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ross-sector collaboration to identify actions and investments by other state and community partners</a:t>
            </a:r>
          </a:p>
          <a:p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0F3A42-B758-817E-5165-5161482F27E9}"/>
              </a:ext>
            </a:extLst>
          </p:cNvPr>
          <p:cNvSpPr txBox="1"/>
          <p:nvPr/>
        </p:nvSpPr>
        <p:spPr>
          <a:xfrm>
            <a:off x="3833446" y="1277828"/>
            <a:ext cx="730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lign Local Health Department &amp; Hospital planning efforts with Prevention Agenda prioritie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9EABC6E-21F9-4D7E-A258-6C9F23A82175}"/>
              </a:ext>
            </a:extLst>
          </p:cNvPr>
          <p:cNvSpPr/>
          <p:nvPr/>
        </p:nvSpPr>
        <p:spPr>
          <a:xfrm>
            <a:off x="902676" y="4760113"/>
            <a:ext cx="2930769" cy="1138773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368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234842-2EC6-DED3-8ACB-9EC784906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xagon 3">
            <a:extLst>
              <a:ext uri="{FF2B5EF4-FFF2-40B4-BE49-F238E27FC236}">
                <a16:creationId xmlns:a16="http://schemas.microsoft.com/office/drawing/2014/main" id="{4C1F3C76-0F53-6041-9312-9D636649161A}"/>
              </a:ext>
            </a:extLst>
          </p:cNvPr>
          <p:cNvSpPr/>
          <p:nvPr/>
        </p:nvSpPr>
        <p:spPr>
          <a:xfrm>
            <a:off x="3981165" y="2069432"/>
            <a:ext cx="3852649" cy="3156045"/>
          </a:xfrm>
          <a:prstGeom prst="hexagon">
            <a:avLst/>
          </a:prstGeom>
          <a:solidFill>
            <a:srgbClr val="4C004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A6F19C-01B7-3614-4EAB-3C43BF5FFB56}"/>
              </a:ext>
            </a:extLst>
          </p:cNvPr>
          <p:cNvSpPr txBox="1"/>
          <p:nvPr/>
        </p:nvSpPr>
        <p:spPr>
          <a:xfrm>
            <a:off x="4566883" y="2493292"/>
            <a:ext cx="26368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tners of the Prevention Agenda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4CCC043-D190-DE47-8FA3-7CD9C849EFE5}"/>
              </a:ext>
            </a:extLst>
          </p:cNvPr>
          <p:cNvSpPr/>
          <p:nvPr/>
        </p:nvSpPr>
        <p:spPr>
          <a:xfrm>
            <a:off x="7951806" y="2092877"/>
            <a:ext cx="3370997" cy="1572903"/>
          </a:xfrm>
          <a:prstGeom prst="roundRect">
            <a:avLst/>
          </a:prstGeom>
          <a:solidFill>
            <a:schemeClr val="accent6"/>
          </a:solidFill>
          <a:ln>
            <a:solidFill>
              <a:srgbClr val="00000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/>
              <a:t>Local Health Departments</a:t>
            </a:r>
          </a:p>
          <a:p>
            <a:pPr algn="ctr"/>
            <a:r>
              <a:rPr lang="en-US" sz="1800" dirty="0"/>
              <a:t>CHIP Liaison Listserv </a:t>
            </a:r>
            <a:r>
              <a:rPr lang="en-US" sz="1800" b="1" dirty="0"/>
              <a:t>(~97)</a:t>
            </a:r>
          </a:p>
          <a:p>
            <a:pPr algn="ctr"/>
            <a:r>
              <a:rPr lang="en-US" sz="1200" dirty="0"/>
              <a:t>https://www.health.ny.gov/prevention/prevention_agenda/contact_list.htm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930B9CF-AC4A-903F-8B59-68813AA882C0}"/>
              </a:ext>
            </a:extLst>
          </p:cNvPr>
          <p:cNvSpPr/>
          <p:nvPr/>
        </p:nvSpPr>
        <p:spPr>
          <a:xfrm>
            <a:off x="369345" y="2085398"/>
            <a:ext cx="3493828" cy="1572904"/>
          </a:xfrm>
          <a:prstGeom prst="round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Hospitals</a:t>
            </a:r>
          </a:p>
          <a:p>
            <a:pPr algn="ctr"/>
            <a:r>
              <a:rPr lang="en-US" sz="1800" dirty="0"/>
              <a:t>CSP Liaison Listserv </a:t>
            </a:r>
            <a:r>
              <a:rPr lang="en-US" sz="1800" b="1" dirty="0"/>
              <a:t>(~120)</a:t>
            </a:r>
          </a:p>
          <a:p>
            <a:pPr algn="ctr"/>
            <a:r>
              <a:rPr lang="en-US" sz="1200" dirty="0"/>
              <a:t>https://www.health.ny.gov/prevention/prevention_agenda/hosp.htm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44E6B83-DFD2-1F7C-3C37-BCD9CBC24D2A}"/>
              </a:ext>
            </a:extLst>
          </p:cNvPr>
          <p:cNvSpPr/>
          <p:nvPr/>
        </p:nvSpPr>
        <p:spPr>
          <a:xfrm>
            <a:off x="7951806" y="3748015"/>
            <a:ext cx="3493828" cy="1835225"/>
          </a:xfrm>
          <a:prstGeom prst="roundRect">
            <a:avLst/>
          </a:prstGeom>
          <a:ln>
            <a:solidFill>
              <a:srgbClr val="000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Public Health Contractors</a:t>
            </a:r>
          </a:p>
          <a:p>
            <a:pPr algn="ctr"/>
            <a:r>
              <a:rPr lang="en-US" b="1" dirty="0"/>
              <a:t>~8,100+ Programs </a:t>
            </a:r>
            <a:r>
              <a:rPr lang="en-US" sz="1400" dirty="0"/>
              <a:t>https://dashboard.health.ny.gov/t/PHIG_Public/views/Contractordashboar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5686F86-79AE-7D99-BD40-DE4D7349B992}"/>
              </a:ext>
            </a:extLst>
          </p:cNvPr>
          <p:cNvSpPr/>
          <p:nvPr/>
        </p:nvSpPr>
        <p:spPr>
          <a:xfrm>
            <a:off x="369345" y="3748015"/>
            <a:ext cx="3493828" cy="19528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State / Regional Collaborators</a:t>
            </a:r>
            <a:endParaRPr lang="en-US" sz="1800" b="1" dirty="0">
              <a:solidFill>
                <a:schemeClr val="bg1"/>
              </a:solidFill>
            </a:endParaRPr>
          </a:p>
          <a:p>
            <a:pPr algn="ctr"/>
            <a:r>
              <a:rPr lang="en-US" sz="1400" dirty="0">
                <a:hlinkClick r:id="rId3"/>
              </a:rPr>
              <a:t>https://www.health.ny.gov/prevention/prevention_agenda/2025-2030/partnerships.htm</a:t>
            </a:r>
            <a:endParaRPr lang="en-US" sz="1400" dirty="0">
              <a:solidFill>
                <a:srgbClr val="FFFF00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A369F14-6975-8163-3597-060F39BDD142}"/>
              </a:ext>
            </a:extLst>
          </p:cNvPr>
          <p:cNvSpPr/>
          <p:nvPr/>
        </p:nvSpPr>
        <p:spPr>
          <a:xfrm>
            <a:off x="4282984" y="344014"/>
            <a:ext cx="3291452" cy="1619668"/>
          </a:xfrm>
          <a:prstGeom prst="roundRect">
            <a:avLst/>
          </a:prstGeom>
          <a:solidFill>
            <a:schemeClr val="accent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dership</a:t>
            </a:r>
          </a:p>
          <a:p>
            <a:pPr algn="ctr"/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issioner &amp; Office of Public Health </a:t>
            </a:r>
          </a:p>
          <a:p>
            <a:pPr algn="ctr"/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blic Health Committe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0E1F486-8031-2F26-768C-B17E01B5F666}"/>
              </a:ext>
            </a:extLst>
          </p:cNvPr>
          <p:cNvSpPr/>
          <p:nvPr/>
        </p:nvSpPr>
        <p:spPr>
          <a:xfrm>
            <a:off x="4566883" y="5331227"/>
            <a:ext cx="2821889" cy="128789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456FF-D6D5-BD39-C472-59021CB99C38}"/>
              </a:ext>
            </a:extLst>
          </p:cNvPr>
          <p:cNvSpPr txBox="1"/>
          <p:nvPr/>
        </p:nvSpPr>
        <p:spPr>
          <a:xfrm>
            <a:off x="4333937" y="5410516"/>
            <a:ext cx="32404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Community Based Organizations (CBOs)</a:t>
            </a:r>
            <a:endParaRPr lang="en-US" sz="2400" dirty="0"/>
          </a:p>
          <a:p>
            <a:pPr algn="ctr"/>
            <a:endParaRPr lang="en-US" sz="24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D31991-A40F-23B1-2AE7-B6F616F647B3}"/>
              </a:ext>
            </a:extLst>
          </p:cNvPr>
          <p:cNvSpPr/>
          <p:nvPr/>
        </p:nvSpPr>
        <p:spPr>
          <a:xfrm>
            <a:off x="4566883" y="5331227"/>
            <a:ext cx="2821889" cy="1287899"/>
          </a:xfrm>
          <a:prstGeom prst="roundRect">
            <a:avLst/>
          </a:prstGeom>
          <a:solidFill>
            <a:srgbClr val="F9CD00">
              <a:alpha val="21176"/>
            </a:srgbClr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117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62596-C00F-FA77-A431-4EC850AAD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B8A150-D86E-7D85-EC7F-AEE6E600E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5400" b="1" dirty="0"/>
              <a:t>Prevention Agenda for General Audi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9E4337-7A85-1A03-1D53-801F46E8AD13}"/>
              </a:ext>
            </a:extLst>
          </p:cNvPr>
          <p:cNvSpPr txBox="1"/>
          <p:nvPr/>
        </p:nvSpPr>
        <p:spPr>
          <a:xfrm>
            <a:off x="164592" y="2828835"/>
            <a:ext cx="3886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 Activities - State</a:t>
            </a:r>
          </a:p>
        </p:txBody>
      </p:sp>
    </p:spTree>
    <p:extLst>
      <p:ext uri="{BB962C8B-B14F-4D97-AF65-F5344CB8AC3E}">
        <p14:creationId xmlns:p14="http://schemas.microsoft.com/office/powerpoint/2010/main" val="491307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0E1163-60A2-766C-6575-7899F7FE4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74AAE-2677-F0E0-A7F6-E1F5B00151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New York State Department of Health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302685-A7E8-2621-9AAD-A7C52C45CD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824" y="941785"/>
            <a:ext cx="11784769" cy="568231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9A6823A-5F7F-F963-A93A-0AD34E4B11CA}"/>
              </a:ext>
            </a:extLst>
          </p:cNvPr>
          <p:cNvGrpSpPr/>
          <p:nvPr/>
        </p:nvGrpSpPr>
        <p:grpSpPr>
          <a:xfrm>
            <a:off x="8311661" y="2381832"/>
            <a:ext cx="750278" cy="1007819"/>
            <a:chOff x="8311661" y="1781907"/>
            <a:chExt cx="750278" cy="10078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4DE17D9-FD30-AE5F-1A59-059B3690E6FE}"/>
                </a:ext>
              </a:extLst>
            </p:cNvPr>
            <p:cNvSpPr/>
            <p:nvPr/>
          </p:nvSpPr>
          <p:spPr>
            <a:xfrm>
              <a:off x="8311661" y="1781907"/>
              <a:ext cx="750278" cy="398585"/>
            </a:xfrm>
            <a:prstGeom prst="rect">
              <a:avLst/>
            </a:prstGeom>
            <a:noFill/>
            <a:ln w="76200"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Arrow: Bent-Up 3">
              <a:extLst>
                <a:ext uri="{FF2B5EF4-FFF2-40B4-BE49-F238E27FC236}">
                  <a16:creationId xmlns:a16="http://schemas.microsoft.com/office/drawing/2014/main" id="{834FB4A6-BD5D-E50D-5354-B0298A5556E7}"/>
                </a:ext>
              </a:extLst>
            </p:cNvPr>
            <p:cNvSpPr/>
            <p:nvPr/>
          </p:nvSpPr>
          <p:spPr>
            <a:xfrm rot="10800000" flipV="1">
              <a:off x="8510954" y="2275483"/>
              <a:ext cx="550985" cy="514243"/>
            </a:xfrm>
            <a:prstGeom prst="bentUpArrow">
              <a:avLst>
                <a:gd name="adj1" fmla="val 25000"/>
                <a:gd name="adj2" fmla="val 25531"/>
                <a:gd name="adj3" fmla="val 25000"/>
              </a:avLst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F0C496B-9F2D-E381-6A5D-CC06C0ACE42A}"/>
              </a:ext>
            </a:extLst>
          </p:cNvPr>
          <p:cNvGrpSpPr/>
          <p:nvPr/>
        </p:nvGrpSpPr>
        <p:grpSpPr>
          <a:xfrm>
            <a:off x="7444154" y="2381832"/>
            <a:ext cx="1624263" cy="1477109"/>
            <a:chOff x="7437677" y="1781906"/>
            <a:chExt cx="1624263" cy="147710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A83DE27-8A18-F4A3-609B-435E8E902081}"/>
                </a:ext>
              </a:extLst>
            </p:cNvPr>
            <p:cNvGrpSpPr/>
            <p:nvPr/>
          </p:nvGrpSpPr>
          <p:grpSpPr>
            <a:xfrm>
              <a:off x="7437677" y="1781906"/>
              <a:ext cx="885708" cy="1477109"/>
              <a:chOff x="7437677" y="1781906"/>
              <a:chExt cx="885708" cy="147710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2E6BE340-F530-D738-32E7-38490E69DC24}"/>
                  </a:ext>
                </a:extLst>
              </p:cNvPr>
              <p:cNvSpPr/>
              <p:nvPr/>
            </p:nvSpPr>
            <p:spPr>
              <a:xfrm>
                <a:off x="7437677" y="1781906"/>
                <a:ext cx="750278" cy="398585"/>
              </a:xfrm>
              <a:prstGeom prst="rect">
                <a:avLst/>
              </a:prstGeom>
              <a:noFill/>
              <a:ln w="762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Arrow: Bent-Up 8">
                <a:extLst>
                  <a:ext uri="{FF2B5EF4-FFF2-40B4-BE49-F238E27FC236}">
                    <a16:creationId xmlns:a16="http://schemas.microsoft.com/office/drawing/2014/main" id="{04A29E99-31A2-FDD9-9496-38A6941F5246}"/>
                  </a:ext>
                </a:extLst>
              </p:cNvPr>
              <p:cNvSpPr/>
              <p:nvPr/>
            </p:nvSpPr>
            <p:spPr>
              <a:xfrm rot="10800000" flipV="1">
                <a:off x="7661031" y="2286840"/>
                <a:ext cx="662354" cy="972175"/>
              </a:xfrm>
              <a:prstGeom prst="bentUpArrow">
                <a:avLst>
                  <a:gd name="adj1" fmla="val 19690"/>
                  <a:gd name="adj2" fmla="val 25531"/>
                  <a:gd name="adj3" fmla="val 22959"/>
                </a:avLst>
              </a:prstGeom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07E785-49B2-7B5F-BD5C-27AEB0CD1634}"/>
                </a:ext>
              </a:extLst>
            </p:cNvPr>
            <p:cNvSpPr/>
            <p:nvPr/>
          </p:nvSpPr>
          <p:spPr>
            <a:xfrm>
              <a:off x="7784124" y="3118338"/>
              <a:ext cx="1277816" cy="140677"/>
            </a:xfrm>
            <a:prstGeom prst="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28E369D-C775-AA5C-1741-2F13A1187470}"/>
              </a:ext>
            </a:extLst>
          </p:cNvPr>
          <p:cNvSpPr txBox="1"/>
          <p:nvPr/>
        </p:nvSpPr>
        <p:spPr>
          <a:xfrm>
            <a:off x="5193793" y="3118338"/>
            <a:ext cx="225036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vement of other major offices/centers, but maintained collaboration</a:t>
            </a:r>
          </a:p>
        </p:txBody>
      </p:sp>
    </p:spTree>
    <p:extLst>
      <p:ext uri="{BB962C8B-B14F-4D97-AF65-F5344CB8AC3E}">
        <p14:creationId xmlns:p14="http://schemas.microsoft.com/office/powerpoint/2010/main" val="234739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6CCF9-A976-4ED8-D55C-8EA21F0444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58BA7-9ECC-1A04-769F-FF3213BD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PREVENTION AGENDA 10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13C9F6-EDCF-FFFD-CCF2-B98D53A69195}"/>
              </a:ext>
            </a:extLst>
          </p:cNvPr>
          <p:cNvSpPr txBox="1"/>
          <p:nvPr/>
        </p:nvSpPr>
        <p:spPr>
          <a:xfrm>
            <a:off x="320040" y="1110352"/>
            <a:ext cx="113294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Development of </a:t>
            </a:r>
            <a:r>
              <a:rPr lang="en-US" sz="2800" b="1" dirty="0"/>
              <a:t>“101” Modular Training </a:t>
            </a:r>
            <a:r>
              <a:rPr lang="en-US" sz="2800" dirty="0"/>
              <a:t>for Websi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A9817-DE51-B055-22BA-EBB3E8243B3F}"/>
              </a:ext>
            </a:extLst>
          </p:cNvPr>
          <p:cNvSpPr txBox="1"/>
          <p:nvPr/>
        </p:nvSpPr>
        <p:spPr>
          <a:xfrm>
            <a:off x="969264" y="1655064"/>
            <a:ext cx="8951976" cy="1426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b="1" dirty="0"/>
              <a:t>General Public </a:t>
            </a:r>
            <a:r>
              <a:rPr lang="en-US" sz="2400" dirty="0"/>
              <a:t>Understanding of Prevention Agenda</a:t>
            </a:r>
          </a:p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b="1" dirty="0"/>
              <a:t>“Entry Point” </a:t>
            </a:r>
            <a:r>
              <a:rPr lang="en-US" sz="2400" dirty="0"/>
              <a:t>for New Partner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E80962-6399-CB11-540E-1D24D61DC3F9}"/>
              </a:ext>
            </a:extLst>
          </p:cNvPr>
          <p:cNvSpPr txBox="1"/>
          <p:nvPr/>
        </p:nvSpPr>
        <p:spPr>
          <a:xfrm>
            <a:off x="323088" y="2850327"/>
            <a:ext cx="113294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Development of </a:t>
            </a:r>
            <a:r>
              <a:rPr lang="en-US" sz="2800" b="1" dirty="0"/>
              <a:t>Prevention Agenda Fact Sheet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3BA1DB-6DD7-6984-B5D0-1E01FAD6F5E6}"/>
              </a:ext>
            </a:extLst>
          </p:cNvPr>
          <p:cNvSpPr txBox="1"/>
          <p:nvPr/>
        </p:nvSpPr>
        <p:spPr>
          <a:xfrm>
            <a:off x="908304" y="3429000"/>
            <a:ext cx="8951976" cy="1426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b="1" dirty="0"/>
              <a:t>General Public </a:t>
            </a:r>
            <a:r>
              <a:rPr lang="en-US" sz="2400" dirty="0"/>
              <a:t>Understanding of Prevention Agenda</a:t>
            </a:r>
          </a:p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/>
              <a:t>Translation into </a:t>
            </a:r>
            <a:r>
              <a:rPr lang="en-US" sz="2400" b="1" dirty="0"/>
              <a:t>12 top languages of New York</a:t>
            </a:r>
            <a:endParaRPr lang="en-US" sz="2400" dirty="0"/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DD9643A-24B4-3E27-96E7-3030040F2D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271966"/>
              </p:ext>
            </p:extLst>
          </p:nvPr>
        </p:nvGraphicFramePr>
        <p:xfrm>
          <a:off x="1376426" y="4517136"/>
          <a:ext cx="9216644" cy="137160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304161">
                  <a:extLst>
                    <a:ext uri="{9D8B030D-6E8A-4147-A177-3AD203B41FA5}">
                      <a16:colId xmlns:a16="http://schemas.microsoft.com/office/drawing/2014/main" val="1852428197"/>
                    </a:ext>
                  </a:extLst>
                </a:gridCol>
                <a:gridCol w="2304161">
                  <a:extLst>
                    <a:ext uri="{9D8B030D-6E8A-4147-A177-3AD203B41FA5}">
                      <a16:colId xmlns:a16="http://schemas.microsoft.com/office/drawing/2014/main" val="3227470884"/>
                    </a:ext>
                  </a:extLst>
                </a:gridCol>
                <a:gridCol w="2304161">
                  <a:extLst>
                    <a:ext uri="{9D8B030D-6E8A-4147-A177-3AD203B41FA5}">
                      <a16:colId xmlns:a16="http://schemas.microsoft.com/office/drawing/2014/main" val="3984271250"/>
                    </a:ext>
                  </a:extLst>
                </a:gridCol>
                <a:gridCol w="2304161">
                  <a:extLst>
                    <a:ext uri="{9D8B030D-6E8A-4147-A177-3AD203B41FA5}">
                      <a16:colId xmlns:a16="http://schemas.microsoft.com/office/drawing/2014/main" val="1248141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ysClr val="windowText" lastClr="000000"/>
                          </a:solidFill>
                        </a:rPr>
                        <a:t>Spa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ysClr val="windowText" lastClr="000000"/>
                          </a:solidFill>
                        </a:rPr>
                        <a:t>Chine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ysClr val="windowText" lastClr="000000"/>
                          </a:solidFill>
                        </a:rPr>
                        <a:t>Russ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ysClr val="windowText" lastClr="000000"/>
                          </a:solidFill>
                        </a:rPr>
                        <a:t>Yiddis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1402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Bangl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Kor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Haitian Cre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Itali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01076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Arab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Pol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Fre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ysClr val="windowText" lastClr="000000"/>
                          </a:solidFill>
                        </a:rPr>
                        <a:t>Urd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728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06834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9EEDE-7614-6D42-232C-D3063DF5A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5B39F7-E726-8763-E340-F7646D12A5B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77148" y="1047787"/>
            <a:ext cx="3825875" cy="95408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b="1" dirty="0"/>
              <a:t>Partner Identification Metho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EBC711-7730-18BA-B6AF-6B44EB6E8DB4}"/>
              </a:ext>
            </a:extLst>
          </p:cNvPr>
          <p:cNvSpPr txBox="1">
            <a:spLocks/>
          </p:cNvSpPr>
          <p:nvPr/>
        </p:nvSpPr>
        <p:spPr>
          <a:xfrm>
            <a:off x="7226110" y="1348154"/>
            <a:ext cx="4688578" cy="5245639"/>
          </a:xfrm>
          <a:prstGeom prst="rect">
            <a:avLst/>
          </a:prstGeom>
          <a:ln w="76200">
            <a:solidFill>
              <a:srgbClr val="4C004C"/>
            </a:solidFill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ed with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cal Health Department/Hospital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their commun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ealth.ny.gov/prevention/prevention_agenda/2025-2030/partnerships.htm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lf-sign up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Prevention Agenda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istserv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(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4C004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ention-L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ealth.ny.gov/prevention/prevention_agenda/2025-2030/contact.htm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 </a:t>
            </a:r>
          </a:p>
          <a:p>
            <a:pPr lvl="0">
              <a:buClrTx/>
              <a:defRPr/>
            </a:pPr>
            <a:r>
              <a:rPr lang="en-US" sz="2600" b="1" dirty="0">
                <a:solidFill>
                  <a:prstClr val="black"/>
                </a:solidFill>
              </a:rPr>
              <a:t>Prevention Agenda Frequently Asked Questions</a:t>
            </a:r>
          </a:p>
          <a:p>
            <a:pPr marL="0" lvl="0" indent="0">
              <a:buClrTx/>
              <a:buNone/>
              <a:defRPr/>
            </a:pPr>
            <a:r>
              <a:rPr lang="en-US" sz="1900" dirty="0">
                <a:solidFill>
                  <a:srgbClr val="7030A0"/>
                </a:solidFill>
              </a:rPr>
              <a:t>https://www.health.ny.gov/prevention/prevention_agenda/2025-2030/faqs.htm</a:t>
            </a:r>
            <a:endParaRPr lang="en-US" sz="1900" dirty="0">
              <a:solidFill>
                <a:prstClr val="black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ention Agenda “101” Overviews and Fact Sheet </a:t>
            </a:r>
          </a:p>
          <a:p>
            <a:pPr marL="457200" lvl="1" indent="0">
              <a:buClrTx/>
              <a:buNone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B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99A06C-B61B-F1CC-9AB9-04C07908C019}"/>
              </a:ext>
            </a:extLst>
          </p:cNvPr>
          <p:cNvSpPr txBox="1"/>
          <p:nvPr/>
        </p:nvSpPr>
        <p:spPr>
          <a:xfrm>
            <a:off x="255792" y="2214001"/>
            <a:ext cx="3838711" cy="2616101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rtner Recommend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ocal Health Department/Hospital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rrent Prevention Agenda Collaborato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soci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d Hoc Committe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agency Grou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AEB036-A28B-493F-DAA3-EF6674246ECC}"/>
              </a:ext>
            </a:extLst>
          </p:cNvPr>
          <p:cNvSpPr txBox="1"/>
          <p:nvPr/>
        </p:nvSpPr>
        <p:spPr>
          <a:xfrm>
            <a:off x="255792" y="4931816"/>
            <a:ext cx="3838711" cy="461665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YSDOH Websit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AF63CD7F-834E-DC4B-9C0E-D55922F9FDD1}"/>
              </a:ext>
            </a:extLst>
          </p:cNvPr>
          <p:cNvSpPr/>
          <p:nvPr/>
        </p:nvSpPr>
        <p:spPr>
          <a:xfrm>
            <a:off x="4188906" y="2372987"/>
            <a:ext cx="581735" cy="2415756"/>
          </a:xfrm>
          <a:prstGeom prst="rightBrace">
            <a:avLst>
              <a:gd name="adj1" fmla="val 8333"/>
              <a:gd name="adj2" fmla="val 49435"/>
            </a:avLst>
          </a:prstGeom>
          <a:ln w="762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380750-9BBA-7A66-549D-47D2863B010F}"/>
              </a:ext>
            </a:extLst>
          </p:cNvPr>
          <p:cNvSpPr txBox="1"/>
          <p:nvPr/>
        </p:nvSpPr>
        <p:spPr>
          <a:xfrm>
            <a:off x="3632047" y="3165365"/>
            <a:ext cx="4056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C004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ven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C004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@health.ny.gov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9E2D6483-F0E4-393E-B2D2-906693433974}"/>
              </a:ext>
            </a:extLst>
          </p:cNvPr>
          <p:cNvSpPr/>
          <p:nvPr/>
        </p:nvSpPr>
        <p:spPr>
          <a:xfrm rot="10800000">
            <a:off x="6549972" y="2372986"/>
            <a:ext cx="581735" cy="2415756"/>
          </a:xfrm>
          <a:prstGeom prst="rightBrace">
            <a:avLst>
              <a:gd name="adj1" fmla="val 8333"/>
              <a:gd name="adj2" fmla="val 49435"/>
            </a:avLst>
          </a:prstGeom>
          <a:ln w="762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CECFD0-B4E0-A140-80C1-63962444DA4B}"/>
              </a:ext>
            </a:extLst>
          </p:cNvPr>
          <p:cNvSpPr txBox="1"/>
          <p:nvPr/>
        </p:nvSpPr>
        <p:spPr>
          <a:xfrm>
            <a:off x="7542139" y="264207"/>
            <a:ext cx="4056520" cy="95410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kern="1200" dirty="0">
                <a:solidFill>
                  <a:schemeClr val="tx1"/>
                </a:solidFill>
                <a:latin typeface="Aptos" panose="02110004020202020204"/>
              </a:rPr>
              <a:t>Local/ Community Partners Connec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652504C-CBCB-7A7E-52B0-F54D52E6B6D1}"/>
              </a:ext>
            </a:extLst>
          </p:cNvPr>
          <p:cNvSpPr/>
          <p:nvPr/>
        </p:nvSpPr>
        <p:spPr>
          <a:xfrm>
            <a:off x="7432431" y="1359877"/>
            <a:ext cx="4482421" cy="1013107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581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7EF03-006D-CE7B-6461-520B56FCA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F73F8-50CF-BF1B-1116-2F76625EA0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5400" b="1" dirty="0"/>
              <a:t>Interagency Collabor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3D38F9-2A8A-9C2D-9841-D525AE207EBC}"/>
              </a:ext>
            </a:extLst>
          </p:cNvPr>
          <p:cNvSpPr txBox="1"/>
          <p:nvPr/>
        </p:nvSpPr>
        <p:spPr>
          <a:xfrm>
            <a:off x="164592" y="2828835"/>
            <a:ext cx="3886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 Activities - State</a:t>
            </a:r>
          </a:p>
        </p:txBody>
      </p:sp>
    </p:spTree>
    <p:extLst>
      <p:ext uri="{BB962C8B-B14F-4D97-AF65-F5344CB8AC3E}">
        <p14:creationId xmlns:p14="http://schemas.microsoft.com/office/powerpoint/2010/main" val="42591275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5195F3-D68D-B383-F9E8-99FC3C301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412EE-53F4-A96B-D2F5-F390E0D53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/>
              <a:t>INTERAGENCY TASKFORC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2836E7-DD35-ADE0-7458-314294B99DFB}"/>
              </a:ext>
            </a:extLst>
          </p:cNvPr>
          <p:cNvSpPr txBox="1"/>
          <p:nvPr/>
        </p:nvSpPr>
        <p:spPr>
          <a:xfrm>
            <a:off x="320040" y="942676"/>
            <a:ext cx="113294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Briefing of Prevention Agenda on </a:t>
            </a:r>
            <a:r>
              <a:rPr lang="en-US" sz="2800" b="1" dirty="0"/>
              <a:t>November 4</a:t>
            </a:r>
            <a:r>
              <a:rPr lang="en-US" sz="2800" b="1" baseline="30000" dirty="0"/>
              <a:t>th</a:t>
            </a:r>
            <a:r>
              <a:rPr lang="en-US" sz="2800" b="1" dirty="0"/>
              <a:t>, 2025 </a:t>
            </a:r>
            <a:r>
              <a:rPr lang="en-US" sz="2800" dirty="0"/>
              <a:t>to the Office of Health Equity and Human Rights (OHEHR) Interagency Taskfor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E47D3B-C168-82BB-CF5C-E3F84CAD208B}"/>
              </a:ext>
            </a:extLst>
          </p:cNvPr>
          <p:cNvSpPr txBox="1"/>
          <p:nvPr/>
        </p:nvSpPr>
        <p:spPr>
          <a:xfrm>
            <a:off x="844296" y="2327671"/>
            <a:ext cx="8951976" cy="2318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/>
              <a:t>Taskforce composed of </a:t>
            </a:r>
            <a:r>
              <a:rPr lang="en-US" sz="2400" b="1" dirty="0"/>
              <a:t>20+</a:t>
            </a:r>
            <a:r>
              <a:rPr lang="en-US" sz="2400" dirty="0"/>
              <a:t> Diversity, Equity, and Inclusion Officers of </a:t>
            </a:r>
            <a:r>
              <a:rPr lang="en-US" sz="2400" b="1" dirty="0"/>
              <a:t>State Agencies</a:t>
            </a:r>
          </a:p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/>
              <a:t>Health Equity one of </a:t>
            </a:r>
            <a:r>
              <a:rPr lang="en-US" sz="2400" b="1" dirty="0"/>
              <a:t>foundations</a:t>
            </a:r>
            <a:r>
              <a:rPr lang="en-US" sz="2400" dirty="0"/>
              <a:t> of the Prevention Agenda</a:t>
            </a:r>
          </a:p>
          <a:p>
            <a:pPr marL="342900" lvl="8" indent="-3429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400" dirty="0"/>
              <a:t>Review of Plans, Dashboard, and Next Step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80B94B-7E9A-89D4-DEC6-50CCBC7517A2}"/>
              </a:ext>
            </a:extLst>
          </p:cNvPr>
          <p:cNvSpPr txBox="1"/>
          <p:nvPr/>
        </p:nvSpPr>
        <p:spPr>
          <a:xfrm>
            <a:off x="320040" y="4377332"/>
            <a:ext cx="113294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eeting also indicated dissolve of Task Force </a:t>
            </a:r>
            <a:r>
              <a:rPr lang="en-US" sz="2800" dirty="0">
                <a:sym typeface="Wingdings" panose="05000000000000000000" pitchFamily="2" charset="2"/>
              </a:rPr>
              <a:t> Participation and Activities will transfer to the </a:t>
            </a:r>
            <a:r>
              <a:rPr lang="en-US" sz="2800" b="1" dirty="0"/>
              <a:t>New York State Workforce Diversity and Inclusion Advisory Council/Committee</a:t>
            </a:r>
            <a:r>
              <a:rPr lang="en-US" sz="2800" dirty="0"/>
              <a:t>.</a:t>
            </a:r>
          </a:p>
          <a:p>
            <a:r>
              <a:rPr lang="en-US" sz="2800" dirty="0"/>
              <a:t> 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426347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36357-7B48-847E-8444-345375859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6 WORKGROUP DEVELOP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4467BD-A61B-F3AC-B956-0007C9B821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402" y="941785"/>
            <a:ext cx="5946725" cy="5682316"/>
          </a:xfrm>
          <a:solidFill>
            <a:schemeClr val="tx1"/>
          </a:solidFill>
        </p:spPr>
        <p:txBody>
          <a:bodyPr/>
          <a:lstStyle/>
          <a:p>
            <a:r>
              <a:rPr lang="en-US" sz="2800" dirty="0"/>
              <a:t>Updating of </a:t>
            </a:r>
            <a:r>
              <a:rPr lang="en-US" sz="2800" b="1" dirty="0"/>
              <a:t>Ad Hoc Membership</a:t>
            </a:r>
            <a:r>
              <a:rPr lang="en-US" sz="2800" dirty="0"/>
              <a:t> list – new &amp; re-invites</a:t>
            </a:r>
          </a:p>
          <a:p>
            <a:r>
              <a:rPr lang="en-US" sz="2800" dirty="0"/>
              <a:t>Focus on </a:t>
            </a:r>
            <a:r>
              <a:rPr lang="en-US" sz="2800" b="1" dirty="0"/>
              <a:t>state-wide non-profits, professional associations, and advocacy groups </a:t>
            </a:r>
            <a:r>
              <a:rPr lang="en-US" sz="2800" dirty="0"/>
              <a:t>whose goals are align with the Prevention Agenda</a:t>
            </a:r>
          </a:p>
          <a:p>
            <a:r>
              <a:rPr lang="en-US" sz="2800" dirty="0"/>
              <a:t>Analysis of state agency partners </a:t>
            </a:r>
            <a:r>
              <a:rPr lang="en-US" sz="2800" b="1" dirty="0"/>
              <a:t>existing activities and groups </a:t>
            </a:r>
            <a:r>
              <a:rPr lang="en-US" sz="2800" dirty="0"/>
              <a:t>which support Prevention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503F0A-B40B-6BC4-BF41-BEFD86A6BB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9965" y="941785"/>
            <a:ext cx="5558792" cy="549236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chemeClr val="accent5"/>
                </a:solidFill>
              </a:rPr>
              <a:t>Identified State Agencies for Workgroup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Office for the Aging (NYSOFA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Office of Addiction Services and Supports (OASAS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Department of Financial Services (DFS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Office of Children &amp; Family Services (OCFS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Department of Education (SED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Department of Labor (DOL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Office for People with Developmental Disabilities (OPWDD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Office of Mental Health (OMH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NYS Department of Veterans' Services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Office of Temporary &amp; Disability Assistance (OTDA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Department of State (DOS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Department of Agriculture &amp; Markets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State/City University of New York (SUNY/CUNY)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1700" dirty="0">
                <a:solidFill>
                  <a:schemeClr val="accent5"/>
                </a:solidFill>
              </a:rPr>
              <a:t>Department of Parks &amp; Recreation</a:t>
            </a: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US" sz="1600" b="1" dirty="0">
              <a:solidFill>
                <a:srgbClr val="FF99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US" sz="1600" b="1" dirty="0">
              <a:solidFill>
                <a:srgbClr val="FF99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US" sz="1600" dirty="0">
              <a:solidFill>
                <a:schemeClr val="accent5"/>
              </a:solidFill>
            </a:endParaRPr>
          </a:p>
          <a:p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8129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2AA5C-E4FA-AF00-526B-83B7EFA5FC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E4F25B-BE19-89FE-B15C-282B5D0C9F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584853"/>
            <a:ext cx="4308031" cy="5038875"/>
          </a:xfrm>
        </p:spPr>
        <p:txBody>
          <a:bodyPr/>
          <a:lstStyle/>
          <a:p>
            <a:r>
              <a:rPr lang="en-US" dirty="0"/>
              <a:t>State Implem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84438D-91D2-D933-64E3-63886E0707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b="1" dirty="0">
                <a:solidFill>
                  <a:schemeClr val="accent1"/>
                </a:solidFill>
              </a:rPr>
              <a:t>Questions/Comments?</a:t>
            </a:r>
          </a:p>
        </p:txBody>
      </p:sp>
    </p:spTree>
    <p:extLst>
      <p:ext uri="{BB962C8B-B14F-4D97-AF65-F5344CB8AC3E}">
        <p14:creationId xmlns:p14="http://schemas.microsoft.com/office/powerpoint/2010/main" val="42866633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4BDDC-AA65-4472-93F2-B0158BF6892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9600" y="1559111"/>
            <a:ext cx="10972800" cy="1143000"/>
          </a:xfrm>
        </p:spPr>
        <p:txBody>
          <a:bodyPr lIns="121920" tIns="60960" rIns="121920" bIns="60960" anchor="t">
            <a:normAutofit fontScale="90000"/>
          </a:bodyPr>
          <a:lstStyle/>
          <a:p>
            <a:pPr algn="ctr"/>
            <a:r>
              <a:rPr lang="en-US" sz="6400" dirty="0">
                <a:latin typeface="Verdana"/>
                <a:ea typeface="Verdana"/>
              </a:rPr>
              <a:t>Questions?</a:t>
            </a:r>
          </a:p>
          <a:p>
            <a:pPr algn="ctr"/>
            <a:br>
              <a:rPr lang="en-US" sz="4267" dirty="0">
                <a:highlight>
                  <a:srgbClr val="FFFF00"/>
                </a:highlight>
                <a:latin typeface="Verdana"/>
                <a:ea typeface="Verdana"/>
              </a:rPr>
            </a:br>
            <a:r>
              <a:rPr lang="en-US" sz="4267" dirty="0">
                <a:latin typeface="Verdana"/>
                <a:ea typeface="Verdana"/>
                <a:hlinkClick r:id="rId3"/>
              </a:rPr>
              <a:t>Elizabeth.Whalen@health.ny.gov</a:t>
            </a:r>
            <a:r>
              <a:rPr lang="en-US" sz="4267" dirty="0">
                <a:latin typeface="Verdana"/>
                <a:ea typeface="Verdana"/>
              </a:rPr>
              <a:t> </a:t>
            </a:r>
            <a:br>
              <a:rPr lang="en-US" sz="4267" dirty="0">
                <a:highlight>
                  <a:srgbClr val="FFFF00"/>
                </a:highlight>
                <a:latin typeface="Verdana"/>
                <a:ea typeface="Verdana"/>
              </a:rPr>
            </a:br>
            <a:r>
              <a:rPr lang="en-US" sz="4267" dirty="0">
                <a:latin typeface="Verdana"/>
                <a:ea typeface="Verdana"/>
                <a:hlinkClick r:id="rId4"/>
              </a:rPr>
              <a:t>Mark.Waldenmaier@health.ny.gov</a:t>
            </a:r>
            <a:br>
              <a:rPr lang="en-US" sz="4267" dirty="0">
                <a:latin typeface="Verdana"/>
                <a:ea typeface="Verdana"/>
              </a:rPr>
            </a:br>
            <a:r>
              <a:rPr lang="en-US" sz="4267" dirty="0">
                <a:latin typeface="Verdana"/>
                <a:ea typeface="Verdana"/>
                <a:hlinkClick r:id="rId5"/>
              </a:rPr>
              <a:t>prevention@health.ny.gov</a:t>
            </a:r>
            <a:br>
              <a:rPr lang="en-US" sz="4267" dirty="0">
                <a:latin typeface="Verdana"/>
                <a:ea typeface="Verdana"/>
              </a:rPr>
            </a:br>
            <a:endParaRPr lang="en-US" sz="4267" dirty="0">
              <a:latin typeface="Verdana"/>
              <a:ea typeface="Verdana"/>
            </a:endParaRPr>
          </a:p>
          <a:p>
            <a:pPr algn="ctr"/>
            <a:endParaRPr lang="en-US" sz="4267" dirty="0">
              <a:latin typeface="Verdana"/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574188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C4C3E9-1B20-6551-6A4E-6B258A37E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A60DEFC-7AA5-50D1-6A7B-93C69B09FB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ublic Health and Health Planning Council – Public Health Committee – February 18</a:t>
            </a:r>
            <a:r>
              <a:rPr lang="en-US" baseline="30000" dirty="0"/>
              <a:t>th</a:t>
            </a:r>
            <a:r>
              <a:rPr lang="en-US" dirty="0"/>
              <a:t>, 2026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DA154D-ED5F-9D67-7A22-0E7679BB2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402" y="1891145"/>
            <a:ext cx="11823191" cy="2924695"/>
          </a:xfrm>
          <a:prstGeom prst="rect">
            <a:avLst/>
          </a:prstGeom>
        </p:spPr>
        <p:txBody>
          <a:bodyPr lIns="457200" tIns="45720" rIns="457200" bIns="45720" anchor="ctr">
            <a:noAutofit/>
          </a:bodyPr>
          <a:lstStyle/>
          <a:p>
            <a:r>
              <a:rPr lang="en-US" sz="5400" dirty="0"/>
              <a:t>Public Health Committee Meetings in 2026</a:t>
            </a:r>
            <a:endParaRPr lang="en-US" sz="5400" cap="non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A03A57-38B3-5871-854B-3DCF785E772C}"/>
              </a:ext>
            </a:extLst>
          </p:cNvPr>
          <p:cNvSpPr/>
          <p:nvPr/>
        </p:nvSpPr>
        <p:spPr>
          <a:xfrm>
            <a:off x="184402" y="4384431"/>
            <a:ext cx="11823191" cy="1610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3979BE-F6DD-0945-9ED7-FDB0147B3082}"/>
              </a:ext>
            </a:extLst>
          </p:cNvPr>
          <p:cNvSpPr txBox="1"/>
          <p:nvPr/>
        </p:nvSpPr>
        <p:spPr>
          <a:xfrm>
            <a:off x="2881179" y="4492477"/>
            <a:ext cx="6084277" cy="161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533C6D"/>
                </a:solidFill>
              </a:rPr>
              <a:t>Mark Waldenmaier</a:t>
            </a:r>
          </a:p>
          <a:p>
            <a:pPr algn="ctr"/>
            <a:r>
              <a:rPr lang="en-US" sz="2000" i="1" dirty="0">
                <a:solidFill>
                  <a:srgbClr val="533C6D"/>
                </a:solidFill>
              </a:rPr>
              <a:t>(He/him/his)</a:t>
            </a:r>
          </a:p>
          <a:p>
            <a:pPr algn="ctr"/>
            <a:r>
              <a:rPr lang="en-US" sz="2000" dirty="0">
                <a:solidFill>
                  <a:srgbClr val="533C6D"/>
                </a:solidFill>
              </a:rPr>
              <a:t>Director</a:t>
            </a:r>
          </a:p>
          <a:p>
            <a:pPr algn="ctr"/>
            <a:r>
              <a:rPr lang="en-US" sz="2000" dirty="0">
                <a:solidFill>
                  <a:srgbClr val="533C6D"/>
                </a:solidFill>
              </a:rPr>
              <a:t>Office of Local Health Services</a:t>
            </a:r>
          </a:p>
          <a:p>
            <a:endParaRPr lang="en-US" dirty="0">
              <a:solidFill>
                <a:srgbClr val="533C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6641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B726E-768F-320E-DDDF-824A659296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3613B-412C-F862-F704-4A7F96203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21920" tIns="60960" rIns="121920" bIns="60960" anchor="t">
            <a:normAutofit fontScale="90000"/>
          </a:bodyPr>
          <a:lstStyle/>
          <a:p>
            <a:pPr algn="ctr"/>
            <a:r>
              <a:rPr lang="en-US" sz="4267" dirty="0">
                <a:latin typeface="Oswald" panose="00000500000000000000" pitchFamily="2" charset="0"/>
                <a:ea typeface="Verdana"/>
              </a:rPr>
              <a:t>2026 Meeting Schedule</a:t>
            </a:r>
            <a:br>
              <a:rPr lang="en-US" sz="4267" dirty="0">
                <a:latin typeface="Oswald" panose="00000500000000000000" pitchFamily="2" charset="0"/>
                <a:ea typeface="Verdana"/>
              </a:rPr>
            </a:br>
            <a:endParaRPr lang="en-US" sz="4267" dirty="0">
              <a:latin typeface="Oswald" panose="00000500000000000000" pitchFamily="2" charset="0"/>
              <a:ea typeface="Verdana"/>
            </a:endParaRPr>
          </a:p>
          <a:p>
            <a:pPr algn="ctr"/>
            <a:endParaRPr lang="en-US" sz="4267" dirty="0">
              <a:latin typeface="Verdana"/>
              <a:ea typeface="Verdana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07CB9F1-5A87-DDE9-4471-F46DBE37AD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470605"/>
              </p:ext>
            </p:extLst>
          </p:nvPr>
        </p:nvGraphicFramePr>
        <p:xfrm>
          <a:off x="322619" y="2757586"/>
          <a:ext cx="11250744" cy="386651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6814938">
                  <a:extLst>
                    <a:ext uri="{9D8B030D-6E8A-4147-A177-3AD203B41FA5}">
                      <a16:colId xmlns:a16="http://schemas.microsoft.com/office/drawing/2014/main" val="3520263008"/>
                    </a:ext>
                  </a:extLst>
                </a:gridCol>
                <a:gridCol w="2453268">
                  <a:extLst>
                    <a:ext uri="{9D8B030D-6E8A-4147-A177-3AD203B41FA5}">
                      <a16:colId xmlns:a16="http://schemas.microsoft.com/office/drawing/2014/main" val="4107601034"/>
                    </a:ext>
                  </a:extLst>
                </a:gridCol>
                <a:gridCol w="1982538">
                  <a:extLst>
                    <a:ext uri="{9D8B030D-6E8A-4147-A177-3AD203B41FA5}">
                      <a16:colId xmlns:a16="http://schemas.microsoft.com/office/drawing/2014/main" val="3227740348"/>
                    </a:ext>
                  </a:extLst>
                </a:gridCol>
              </a:tblGrid>
              <a:tr h="548132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2800" dirty="0">
                          <a:solidFill>
                            <a:schemeClr val="accent1"/>
                          </a:solidFill>
                          <a:effectLst/>
                        </a:rPr>
                        <a:t>Public Health Committee Meeting Date</a:t>
                      </a:r>
                      <a:endParaRPr lang="en-US" sz="2800" dirty="0">
                        <a:solidFill>
                          <a:schemeClr val="accent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2800" dirty="0">
                          <a:solidFill>
                            <a:schemeClr val="accent1"/>
                          </a:solidFill>
                          <a:effectLst/>
                        </a:rPr>
                        <a:t>Time</a:t>
                      </a:r>
                      <a:endParaRPr lang="en-US" sz="2800" dirty="0">
                        <a:solidFill>
                          <a:schemeClr val="accent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2800" dirty="0">
                          <a:solidFill>
                            <a:schemeClr val="accent1"/>
                          </a:solidFill>
                          <a:effectLst/>
                        </a:rPr>
                        <a:t>Location</a:t>
                      </a:r>
                      <a:endParaRPr lang="en-US" sz="2800" dirty="0">
                        <a:solidFill>
                          <a:schemeClr val="accent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5899662"/>
                  </a:ext>
                </a:extLst>
              </a:tr>
              <a:tr h="57772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February 18</a:t>
                      </a:r>
                      <a:r>
                        <a:rPr lang="en-US" sz="2800" baseline="30000" dirty="0">
                          <a:effectLst/>
                        </a:rPr>
                        <a:t>th</a:t>
                      </a:r>
                      <a:r>
                        <a:rPr lang="en-US" sz="2800" dirty="0">
                          <a:effectLst/>
                        </a:rPr>
                        <a:t>, 2026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>
                          <a:effectLst/>
                        </a:rPr>
                        <a:t>1:00-3:00 pm</a:t>
                      </a:r>
                      <a:endParaRPr lang="en-US" sz="2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Albany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6938095"/>
                  </a:ext>
                </a:extLst>
              </a:tr>
              <a:tr h="548132">
                <a:tc>
                  <a:txBody>
                    <a:bodyPr/>
                    <a:lstStyle/>
                    <a:p>
                      <a:r>
                        <a:rPr lang="en-US" sz="2800" dirty="0"/>
                        <a:t>March TBD --- Ad Hoc Committe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TBD </a:t>
                      </a:r>
                      <a:r>
                        <a:rPr lang="en-US" sz="2400" dirty="0"/>
                        <a:t>(afternoon)</a:t>
                      </a:r>
                      <a:endParaRPr lang="en-US" sz="28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Albany</a:t>
                      </a:r>
                      <a:endParaRPr lang="en-US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4892470"/>
                  </a:ext>
                </a:extLst>
              </a:tr>
              <a:tr h="548132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May 6</a:t>
                      </a:r>
                      <a:r>
                        <a:rPr lang="en-US" sz="2800" baseline="30000" dirty="0">
                          <a:effectLst/>
                        </a:rPr>
                        <a:t>th</a:t>
                      </a:r>
                      <a:r>
                        <a:rPr lang="en-US" sz="2800" dirty="0">
                          <a:effectLst/>
                        </a:rPr>
                        <a:t>, 2026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1:00-3:00 pm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Albany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011346"/>
                  </a:ext>
                </a:extLst>
              </a:tr>
              <a:tr h="548132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June 23</a:t>
                      </a:r>
                      <a:r>
                        <a:rPr lang="en-US" sz="2800" baseline="30000" dirty="0">
                          <a:effectLst/>
                        </a:rPr>
                        <a:t>rd</a:t>
                      </a:r>
                      <a:r>
                        <a:rPr lang="en-US" sz="2800" dirty="0">
                          <a:effectLst/>
                        </a:rPr>
                        <a:t>, 2026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1:00-3:00 pm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>
                          <a:effectLst/>
                        </a:rPr>
                        <a:t>NYC</a:t>
                      </a:r>
                      <a:endParaRPr lang="en-US" sz="2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26754038"/>
                  </a:ext>
                </a:extLst>
              </a:tr>
              <a:tr h="548132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>
                          <a:effectLst/>
                        </a:rPr>
                        <a:t>September 16</a:t>
                      </a:r>
                      <a:r>
                        <a:rPr lang="en-US" sz="2800" baseline="30000">
                          <a:effectLst/>
                        </a:rPr>
                        <a:t>th</a:t>
                      </a:r>
                      <a:r>
                        <a:rPr lang="en-US" sz="2800">
                          <a:effectLst/>
                        </a:rPr>
                        <a:t>, 2026</a:t>
                      </a:r>
                      <a:endParaRPr lang="en-US" sz="2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1:00-3:00 pm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>
                          <a:effectLst/>
                        </a:rPr>
                        <a:t>Albany</a:t>
                      </a:r>
                      <a:endParaRPr lang="en-US" sz="2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294876"/>
                  </a:ext>
                </a:extLst>
              </a:tr>
              <a:tr h="548132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>
                          <a:effectLst/>
                        </a:rPr>
                        <a:t>December 16</a:t>
                      </a:r>
                      <a:r>
                        <a:rPr lang="en-US" sz="2800" baseline="30000">
                          <a:effectLst/>
                        </a:rPr>
                        <a:t>th</a:t>
                      </a:r>
                      <a:r>
                        <a:rPr lang="en-US" sz="2800">
                          <a:effectLst/>
                        </a:rPr>
                        <a:t>, 2026</a:t>
                      </a:r>
                      <a:endParaRPr lang="en-US" sz="2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1:00-3:00 pm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2800" dirty="0">
                          <a:effectLst/>
                        </a:rPr>
                        <a:t>NYC</a:t>
                      </a:r>
                      <a:endParaRPr lang="en-US" sz="28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247522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1F508EE-71B4-3771-1619-7EC6E9B98CAF}"/>
              </a:ext>
            </a:extLst>
          </p:cNvPr>
          <p:cNvSpPr txBox="1"/>
          <p:nvPr/>
        </p:nvSpPr>
        <p:spPr>
          <a:xfrm>
            <a:off x="322619" y="1172577"/>
            <a:ext cx="1111006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Each meeting will be day prior to the Full Council Meeti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For questions about the meetings, please reach out to Colleen Leonard, </a:t>
            </a:r>
            <a:r>
              <a:rPr lang="en-US" sz="2400" u="sng" dirty="0">
                <a:hlinkClick r:id="rId3"/>
              </a:rPr>
              <a:t>Colleen.Leonard@health.ny.gov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561556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165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A9D96-C56C-1ED1-3D61-D002CFF7E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18C61-391B-0017-8614-FC960313E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New York State Department of Healt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D93D45-616C-3B2A-029D-CD79459A52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39" y="941784"/>
            <a:ext cx="11544922" cy="56823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AEB28C1-3EC9-9174-2F9B-F0752B6D5FFE}"/>
              </a:ext>
            </a:extLst>
          </p:cNvPr>
          <p:cNvSpPr/>
          <p:nvPr/>
        </p:nvSpPr>
        <p:spPr>
          <a:xfrm>
            <a:off x="9054094" y="3857625"/>
            <a:ext cx="867507" cy="323902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1BE30C-FF2B-7ACC-4B95-6ABFBC971040}"/>
              </a:ext>
            </a:extLst>
          </p:cNvPr>
          <p:cNvSpPr txBox="1"/>
          <p:nvPr/>
        </p:nvSpPr>
        <p:spPr>
          <a:xfrm>
            <a:off x="5502462" y="3072795"/>
            <a:ext cx="32095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ransformation of </a:t>
            </a:r>
            <a:r>
              <a:rPr lang="en-US" sz="2400" b="1" dirty="0"/>
              <a:t>Public Health Practice </a:t>
            </a:r>
            <a:r>
              <a:rPr lang="en-US" sz="2400" dirty="0"/>
              <a:t>to </a:t>
            </a:r>
            <a:r>
              <a:rPr lang="en-US" sz="2400" b="1" dirty="0"/>
              <a:t>Public Health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080663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DEC57-A5B2-3F52-19B5-DF8E3D924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FFEA1-8305-5EF9-AEEB-67C773B65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New Division of Public Health Infrastruct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AC1A29-4A9B-7416-26BF-CB4675021B71}"/>
              </a:ext>
            </a:extLst>
          </p:cNvPr>
          <p:cNvSpPr/>
          <p:nvPr/>
        </p:nvSpPr>
        <p:spPr>
          <a:xfrm>
            <a:off x="369274" y="2693903"/>
            <a:ext cx="2250831" cy="85578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Office of Public Health Practic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103642-2FD4-630F-1757-156D0D268543}"/>
              </a:ext>
            </a:extLst>
          </p:cNvPr>
          <p:cNvGrpSpPr/>
          <p:nvPr/>
        </p:nvGrpSpPr>
        <p:grpSpPr>
          <a:xfrm>
            <a:off x="2678715" y="2555630"/>
            <a:ext cx="3622425" cy="1195753"/>
            <a:chOff x="2678715" y="2555630"/>
            <a:chExt cx="3622425" cy="119575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55F5E6C-3C9E-00E3-B230-3E92FC714D05}"/>
                </a:ext>
              </a:extLst>
            </p:cNvPr>
            <p:cNvSpPr/>
            <p:nvPr/>
          </p:nvSpPr>
          <p:spPr>
            <a:xfrm>
              <a:off x="4097202" y="2555630"/>
              <a:ext cx="2203938" cy="1195753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Division of Public Health Infrastructure</a:t>
              </a:r>
            </a:p>
          </p:txBody>
        </p:sp>
        <p:sp>
          <p:nvSpPr>
            <p:cNvPr id="18" name="Arrow: Notched Right 17">
              <a:extLst>
                <a:ext uri="{FF2B5EF4-FFF2-40B4-BE49-F238E27FC236}">
                  <a16:creationId xmlns:a16="http://schemas.microsoft.com/office/drawing/2014/main" id="{28241A9F-9EFE-A61A-7461-43F622FEBCD4}"/>
                </a:ext>
              </a:extLst>
            </p:cNvPr>
            <p:cNvSpPr/>
            <p:nvPr/>
          </p:nvSpPr>
          <p:spPr>
            <a:xfrm>
              <a:off x="2678715" y="2878015"/>
              <a:ext cx="1359877" cy="550985"/>
            </a:xfrm>
            <a:prstGeom prst="notched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C730BA0-E99C-86BE-8FDC-B44EB7B1DE8D}"/>
              </a:ext>
            </a:extLst>
          </p:cNvPr>
          <p:cNvGrpSpPr/>
          <p:nvPr/>
        </p:nvGrpSpPr>
        <p:grpSpPr>
          <a:xfrm>
            <a:off x="6447692" y="1325278"/>
            <a:ext cx="5375034" cy="3883219"/>
            <a:chOff x="6447692" y="1325278"/>
            <a:chExt cx="5375034" cy="388321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545A903-15EA-EB8F-3D0E-682D4FABA86A}"/>
                </a:ext>
              </a:extLst>
            </p:cNvPr>
            <p:cNvGrpSpPr/>
            <p:nvPr/>
          </p:nvGrpSpPr>
          <p:grpSpPr>
            <a:xfrm>
              <a:off x="9571894" y="2283113"/>
              <a:ext cx="2250832" cy="1839559"/>
              <a:chOff x="9741869" y="1982163"/>
              <a:chExt cx="2250832" cy="1839559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1142ECC-1F90-AA2F-E3F5-EEED05DF63CF}"/>
                  </a:ext>
                </a:extLst>
              </p:cNvPr>
              <p:cNvSpPr/>
              <p:nvPr/>
            </p:nvSpPr>
            <p:spPr>
              <a:xfrm>
                <a:off x="9741870" y="2965938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Health, Wealth, &amp; Well-being Unit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196FA3D-EC79-1F77-C102-B143716D15AF}"/>
                  </a:ext>
                </a:extLst>
              </p:cNvPr>
              <p:cNvSpPr/>
              <p:nvPr/>
            </p:nvSpPr>
            <p:spPr>
              <a:xfrm>
                <a:off x="9741869" y="1982163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ublic Health Infrastructure Grant Management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4475F38-E976-6C8B-8E5E-B71499D4CE6E}"/>
                </a:ext>
              </a:extLst>
            </p:cNvPr>
            <p:cNvGrpSpPr/>
            <p:nvPr/>
          </p:nvGrpSpPr>
          <p:grpSpPr>
            <a:xfrm>
              <a:off x="7162796" y="1325278"/>
              <a:ext cx="2250832" cy="3883219"/>
              <a:chOff x="7303473" y="1982163"/>
              <a:chExt cx="2250832" cy="388321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9A0A8C3-4B2B-99C7-1721-23A698C04FBD}"/>
                  </a:ext>
                </a:extLst>
              </p:cNvPr>
              <p:cNvSpPr/>
              <p:nvPr/>
            </p:nvSpPr>
            <p:spPr>
              <a:xfrm>
                <a:off x="7303474" y="1982163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ublic Health Corps Fellowship Program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F2FCB017-3800-C91C-E695-9BA13AD15B7F}"/>
                  </a:ext>
                </a:extLst>
              </p:cNvPr>
              <p:cNvSpPr/>
              <p:nvPr/>
            </p:nvSpPr>
            <p:spPr>
              <a:xfrm>
                <a:off x="7303474" y="2965938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ublic Health Continuing Education Unit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9A14056-DFF1-A59D-1209-DFA4A2B70D8D}"/>
                  </a:ext>
                </a:extLst>
              </p:cNvPr>
              <p:cNvSpPr/>
              <p:nvPr/>
            </p:nvSpPr>
            <p:spPr>
              <a:xfrm>
                <a:off x="7303474" y="3987768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Community Engagement &amp; Outreach Unit 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A7246A7-B015-638F-4E7C-AED8A483ABDC}"/>
                  </a:ext>
                </a:extLst>
              </p:cNvPr>
              <p:cNvSpPr/>
              <p:nvPr/>
            </p:nvSpPr>
            <p:spPr>
              <a:xfrm>
                <a:off x="7303473" y="5009598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Office of Local Health Services</a:t>
                </a:r>
              </a:p>
            </p:txBody>
          </p:sp>
        </p:grpSp>
        <p:sp>
          <p:nvSpPr>
            <p:cNvPr id="20" name="Left Brace 19">
              <a:extLst>
                <a:ext uri="{FF2B5EF4-FFF2-40B4-BE49-F238E27FC236}">
                  <a16:creationId xmlns:a16="http://schemas.microsoft.com/office/drawing/2014/main" id="{95A343C7-6D31-0899-EBBE-9BFF305BFDD1}"/>
                </a:ext>
              </a:extLst>
            </p:cNvPr>
            <p:cNvSpPr/>
            <p:nvPr/>
          </p:nvSpPr>
          <p:spPr>
            <a:xfrm>
              <a:off x="6447692" y="1325278"/>
              <a:ext cx="556837" cy="3774260"/>
            </a:xfrm>
            <a:prstGeom prst="leftBrace">
              <a:avLst/>
            </a:prstGeom>
            <a:ln w="762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195C3CF5-F627-CF39-647C-B356FC208833}"/>
              </a:ext>
            </a:extLst>
          </p:cNvPr>
          <p:cNvSpPr/>
          <p:nvPr/>
        </p:nvSpPr>
        <p:spPr>
          <a:xfrm>
            <a:off x="7151081" y="4352713"/>
            <a:ext cx="2262546" cy="855784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382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9612A-3F9D-EF7D-ADE9-676B671BE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ice of Local Health Servi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1DA92-87AF-8627-D78E-63C3DDEDE9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Article 6 – State Ai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C163B8-0121-7B46-AD5E-A9E725C0FA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Prevention 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4E091F-A135-9F2E-3D3D-D1DC37EB25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b="1" dirty="0"/>
              <a:t>Other Local or State Health Activit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69DDFC-CCB8-F8D4-A4E1-308F3B1A7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ublic Health &amp; Health Planning Council (PHHPC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ew York State Association of County Health Officials (NYSACHO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ublic Health Accreditation Board (PHAB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3D22D5-15FB-763C-8839-C8A230EF51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59007" y="1385507"/>
            <a:ext cx="5038101" cy="1265238"/>
          </a:xfrm>
        </p:spPr>
        <p:txBody>
          <a:bodyPr/>
          <a:lstStyle/>
          <a:p>
            <a:pPr marL="342900" indent="-34290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nnual State Aid Survey</a:t>
            </a:r>
          </a:p>
          <a:p>
            <a:pPr marL="342900" indent="-34290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rticle 6 Reimbursement</a:t>
            </a:r>
          </a:p>
          <a:p>
            <a:pPr marL="342900" indent="-34290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rticle 6 Performance Incentiv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8E6B03-175A-CEB3-DEF2-84539B0D1088}"/>
              </a:ext>
            </a:extLst>
          </p:cNvPr>
          <p:cNvSpPr txBox="1"/>
          <p:nvPr/>
        </p:nvSpPr>
        <p:spPr>
          <a:xfrm>
            <a:off x="4059007" y="2898922"/>
            <a:ext cx="6205998" cy="161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tate level planning and implem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cal Level planning guidance and assist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ther Prevention Agenda Activities (Dashboard, Communications, etc.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573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02DFAE-895A-88DD-6168-BD7CEB58E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3D9F64-4263-24C1-C6A5-CA3E0D84C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 lIns="457200" tIns="45720" rIns="457200" bIns="45720" anchor="t">
            <a:normAutofit/>
          </a:bodyPr>
          <a:lstStyle/>
          <a:p>
            <a:r>
              <a:rPr lang="en-US" dirty="0"/>
              <a:t>Prevention Agenda Across the Depart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70E85F-E612-1E17-397F-A4CC7AC7B25C}"/>
              </a:ext>
            </a:extLst>
          </p:cNvPr>
          <p:cNvSpPr txBox="1"/>
          <p:nvPr/>
        </p:nvSpPr>
        <p:spPr>
          <a:xfrm>
            <a:off x="184402" y="1247652"/>
            <a:ext cx="81565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Elizabeth Whalen</a:t>
            </a:r>
            <a:r>
              <a:rPr lang="en-US" sz="2400" dirty="0"/>
              <a:t>, MD, MPH, </a:t>
            </a:r>
            <a:r>
              <a:rPr lang="en-US" sz="2400" dirty="0" err="1"/>
              <a:t>DipABLM</a:t>
            </a:r>
            <a:r>
              <a:rPr lang="en-US" sz="2400" dirty="0"/>
              <a:t>, Medical Director</a:t>
            </a:r>
          </a:p>
          <a:p>
            <a:endParaRPr lang="en-US" sz="20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9A47452-3612-513B-82DA-F11D1B74FF3F}"/>
              </a:ext>
            </a:extLst>
          </p:cNvPr>
          <p:cNvGrpSpPr/>
          <p:nvPr/>
        </p:nvGrpSpPr>
        <p:grpSpPr>
          <a:xfrm>
            <a:off x="8112359" y="1051257"/>
            <a:ext cx="3722083" cy="5205680"/>
            <a:chOff x="7948237" y="1051257"/>
            <a:chExt cx="3722083" cy="520568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AC8AA24-6F17-E9CE-DCC7-81041A32AFE5}"/>
                </a:ext>
              </a:extLst>
            </p:cNvPr>
            <p:cNvGrpSpPr/>
            <p:nvPr/>
          </p:nvGrpSpPr>
          <p:grpSpPr>
            <a:xfrm>
              <a:off x="7995131" y="2374759"/>
              <a:ext cx="3622425" cy="1195753"/>
              <a:chOff x="2678715" y="2555630"/>
              <a:chExt cx="3622425" cy="1195753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2772A94-8E9C-B46E-7722-970A30B54505}"/>
                  </a:ext>
                </a:extLst>
              </p:cNvPr>
              <p:cNvSpPr/>
              <p:nvPr/>
            </p:nvSpPr>
            <p:spPr>
              <a:xfrm>
                <a:off x="4097202" y="2555630"/>
                <a:ext cx="2203938" cy="1195753"/>
              </a:xfrm>
              <a:prstGeom prst="rect">
                <a:avLst/>
              </a:prstGeom>
            </p:spPr>
            <p:style>
              <a:lnRef idx="2">
                <a:schemeClr val="dk1">
                  <a:shade val="15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Division of Public Health Infrastructure</a:t>
                </a:r>
              </a:p>
            </p:txBody>
          </p:sp>
          <p:sp>
            <p:nvSpPr>
              <p:cNvPr id="5" name="Arrow: Notched Right 4">
                <a:extLst>
                  <a:ext uri="{FF2B5EF4-FFF2-40B4-BE49-F238E27FC236}">
                    <a16:creationId xmlns:a16="http://schemas.microsoft.com/office/drawing/2014/main" id="{8B567A5C-D3E3-27D5-230D-19907EACBECD}"/>
                  </a:ext>
                </a:extLst>
              </p:cNvPr>
              <p:cNvSpPr/>
              <p:nvPr/>
            </p:nvSpPr>
            <p:spPr>
              <a:xfrm>
                <a:off x="2678715" y="2878015"/>
                <a:ext cx="1359877" cy="550985"/>
              </a:xfrm>
              <a:prstGeom prst="notchedRightArrow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283076A-5375-F191-2EEF-F9F6C8590AAB}"/>
                </a:ext>
              </a:extLst>
            </p:cNvPr>
            <p:cNvGrpSpPr/>
            <p:nvPr/>
          </p:nvGrpSpPr>
          <p:grpSpPr>
            <a:xfrm>
              <a:off x="7948237" y="4056807"/>
              <a:ext cx="3669319" cy="855784"/>
              <a:chOff x="5228493" y="5138158"/>
              <a:chExt cx="3669319" cy="85578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F7078190-F574-3CF4-1105-A09418D379FF}"/>
                  </a:ext>
                </a:extLst>
              </p:cNvPr>
              <p:cNvSpPr/>
              <p:nvPr/>
            </p:nvSpPr>
            <p:spPr>
              <a:xfrm>
                <a:off x="6646981" y="5138158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Office of Local Health Services</a:t>
                </a:r>
              </a:p>
            </p:txBody>
          </p:sp>
          <p:sp>
            <p:nvSpPr>
              <p:cNvPr id="7" name="Arrow: Notched Right 6">
                <a:extLst>
                  <a:ext uri="{FF2B5EF4-FFF2-40B4-BE49-F238E27FC236}">
                    <a16:creationId xmlns:a16="http://schemas.microsoft.com/office/drawing/2014/main" id="{2D38EEB9-E1AB-B17F-F88C-6A6972548873}"/>
                  </a:ext>
                </a:extLst>
              </p:cNvPr>
              <p:cNvSpPr/>
              <p:nvPr/>
            </p:nvSpPr>
            <p:spPr>
              <a:xfrm>
                <a:off x="5228493" y="5290558"/>
                <a:ext cx="1359877" cy="550985"/>
              </a:xfrm>
              <a:prstGeom prst="notchedRightArrow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B2299B3-BDAD-E977-6692-C7B6E13AD4F5}"/>
                </a:ext>
              </a:extLst>
            </p:cNvPr>
            <p:cNvGrpSpPr/>
            <p:nvPr/>
          </p:nvGrpSpPr>
          <p:grpSpPr>
            <a:xfrm>
              <a:off x="7995135" y="1051257"/>
              <a:ext cx="3675185" cy="855784"/>
              <a:chOff x="5187462" y="2430129"/>
              <a:chExt cx="3675185" cy="855784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6365F707-7369-CF4A-7B40-A2CF7AC9524B}"/>
                  </a:ext>
                </a:extLst>
              </p:cNvPr>
              <p:cNvSpPr/>
              <p:nvPr/>
            </p:nvSpPr>
            <p:spPr>
              <a:xfrm>
                <a:off x="6611816" y="2430129"/>
                <a:ext cx="2250831" cy="855784"/>
              </a:xfrm>
              <a:prstGeom prst="rect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Office of Public Health</a:t>
                </a:r>
              </a:p>
            </p:txBody>
          </p:sp>
          <p:sp>
            <p:nvSpPr>
              <p:cNvPr id="10" name="Arrow: Notched Right 9">
                <a:extLst>
                  <a:ext uri="{FF2B5EF4-FFF2-40B4-BE49-F238E27FC236}">
                    <a16:creationId xmlns:a16="http://schemas.microsoft.com/office/drawing/2014/main" id="{25B673EA-5F5E-9D13-B55B-BEA324B90FAF}"/>
                  </a:ext>
                </a:extLst>
              </p:cNvPr>
              <p:cNvSpPr/>
              <p:nvPr/>
            </p:nvSpPr>
            <p:spPr>
              <a:xfrm>
                <a:off x="5187462" y="2597866"/>
                <a:ext cx="1359877" cy="550985"/>
              </a:xfrm>
              <a:prstGeom prst="notchedRightArrow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7696532-C2CF-F266-6BEB-708E430983E5}"/>
                </a:ext>
              </a:extLst>
            </p:cNvPr>
            <p:cNvGrpSpPr/>
            <p:nvPr/>
          </p:nvGrpSpPr>
          <p:grpSpPr>
            <a:xfrm>
              <a:off x="7948237" y="5401153"/>
              <a:ext cx="3669319" cy="855784"/>
              <a:chOff x="5228493" y="5160460"/>
              <a:chExt cx="3669319" cy="855784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9B6C671-3EEF-10EB-0488-DE0B9044E0C9}"/>
                  </a:ext>
                </a:extLst>
              </p:cNvPr>
              <p:cNvSpPr/>
              <p:nvPr/>
            </p:nvSpPr>
            <p:spPr>
              <a:xfrm>
                <a:off x="6646981" y="5160460"/>
                <a:ext cx="2250831" cy="855784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Prevention Agenda Team</a:t>
                </a:r>
              </a:p>
            </p:txBody>
          </p:sp>
          <p:sp>
            <p:nvSpPr>
              <p:cNvPr id="14" name="Arrow: Notched Right 13">
                <a:extLst>
                  <a:ext uri="{FF2B5EF4-FFF2-40B4-BE49-F238E27FC236}">
                    <a16:creationId xmlns:a16="http://schemas.microsoft.com/office/drawing/2014/main" id="{D5BC66C2-6D82-7917-D93F-ADEF5B8B625B}"/>
                  </a:ext>
                </a:extLst>
              </p:cNvPr>
              <p:cNvSpPr/>
              <p:nvPr/>
            </p:nvSpPr>
            <p:spPr>
              <a:xfrm>
                <a:off x="5228493" y="5290558"/>
                <a:ext cx="1359877" cy="550985"/>
              </a:xfrm>
              <a:prstGeom prst="notchedRightArrow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786A5BC-E037-08A0-8B00-B8C04E309C6F}"/>
                </a:ext>
              </a:extLst>
            </p:cNvPr>
            <p:cNvCxnSpPr>
              <a:cxnSpLocks/>
            </p:cNvCxnSpPr>
            <p:nvPr/>
          </p:nvCxnSpPr>
          <p:spPr>
            <a:xfrm>
              <a:off x="10544904" y="1907041"/>
              <a:ext cx="0" cy="478235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36EA79B1-1F59-BF80-62E6-4E2719CF6468}"/>
                </a:ext>
              </a:extLst>
            </p:cNvPr>
            <p:cNvCxnSpPr>
              <a:cxnSpLocks/>
            </p:cNvCxnSpPr>
            <p:nvPr/>
          </p:nvCxnSpPr>
          <p:spPr>
            <a:xfrm>
              <a:off x="10556614" y="3570512"/>
              <a:ext cx="0" cy="478235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282517BF-F451-89B2-CDD6-4E3BA5696FB4}"/>
                </a:ext>
              </a:extLst>
            </p:cNvPr>
            <p:cNvCxnSpPr>
              <a:cxnSpLocks/>
            </p:cNvCxnSpPr>
            <p:nvPr/>
          </p:nvCxnSpPr>
          <p:spPr>
            <a:xfrm>
              <a:off x="10544904" y="4912591"/>
              <a:ext cx="0" cy="478235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57A78DE-9266-D77D-E943-35ABD73E6551}"/>
              </a:ext>
            </a:extLst>
          </p:cNvPr>
          <p:cNvSpPr txBox="1"/>
          <p:nvPr/>
        </p:nvSpPr>
        <p:spPr>
          <a:xfrm>
            <a:off x="1698273" y="2714963"/>
            <a:ext cx="79514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Keshana</a:t>
            </a:r>
            <a:r>
              <a:rPr lang="en-US" sz="2400" dirty="0"/>
              <a:t> </a:t>
            </a:r>
            <a:r>
              <a:rPr lang="en-US" sz="2400" b="1" dirty="0"/>
              <a:t>Owens-Cody,</a:t>
            </a:r>
            <a:r>
              <a:rPr lang="en-US" sz="2400" dirty="0"/>
              <a:t> HRM, HPE, Director</a:t>
            </a:r>
          </a:p>
          <a:p>
            <a:endParaRPr lang="en-US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C882C1-51EC-EA47-AF12-3DAA8B146FA2}"/>
              </a:ext>
            </a:extLst>
          </p:cNvPr>
          <p:cNvSpPr txBox="1"/>
          <p:nvPr/>
        </p:nvSpPr>
        <p:spPr>
          <a:xfrm>
            <a:off x="3843595" y="4234045"/>
            <a:ext cx="79514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ark Waldenmaier</a:t>
            </a:r>
            <a:r>
              <a:rPr lang="en-US" sz="2400" dirty="0"/>
              <a:t>, Director</a:t>
            </a:r>
          </a:p>
          <a:p>
            <a:endParaRPr lang="en-US" sz="20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163E24-5A29-859D-5540-E0848F3BC5F7}"/>
              </a:ext>
            </a:extLst>
          </p:cNvPr>
          <p:cNvSpPr txBox="1"/>
          <p:nvPr/>
        </p:nvSpPr>
        <p:spPr>
          <a:xfrm>
            <a:off x="1594339" y="5542085"/>
            <a:ext cx="1117368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Zahra Alaali</a:t>
            </a:r>
            <a:r>
              <a:rPr lang="en-US" sz="2400" dirty="0"/>
              <a:t>, Prevention Agenda Coordinator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848588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E8C54-A9FE-DC14-9658-32870FB0DE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7745-73E7-A44A-EE04-B400E78ADA8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9600" y="1559111"/>
            <a:ext cx="10972800" cy="1143000"/>
          </a:xfrm>
        </p:spPr>
        <p:txBody>
          <a:bodyPr lIns="121920" tIns="60960" rIns="121920" bIns="60960" anchor="t">
            <a:normAutofit fontScale="90000"/>
          </a:bodyPr>
          <a:lstStyle/>
          <a:p>
            <a:pPr algn="ctr"/>
            <a:r>
              <a:rPr lang="en-US" sz="6400" dirty="0">
                <a:latin typeface="Verdana"/>
                <a:ea typeface="Verdana"/>
              </a:rPr>
              <a:t>Questions?</a:t>
            </a:r>
          </a:p>
          <a:p>
            <a:pPr algn="ctr"/>
            <a:br>
              <a:rPr lang="en-US" sz="4267" dirty="0">
                <a:highlight>
                  <a:srgbClr val="FFFF00"/>
                </a:highlight>
                <a:latin typeface="Verdana"/>
                <a:ea typeface="Verdana"/>
              </a:rPr>
            </a:br>
            <a:r>
              <a:rPr lang="en-US" sz="4267" dirty="0">
                <a:latin typeface="Verdana"/>
                <a:ea typeface="Verdana"/>
                <a:hlinkClick r:id="rId3"/>
              </a:rPr>
              <a:t>Mark.Waldenmaier@health.ny.gov</a:t>
            </a:r>
            <a:br>
              <a:rPr lang="en-US" sz="4267" dirty="0">
                <a:latin typeface="Verdana"/>
                <a:ea typeface="Verdana"/>
              </a:rPr>
            </a:br>
            <a:endParaRPr lang="en-US" sz="4267" dirty="0">
              <a:latin typeface="Verdana"/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98428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76676-0944-8BE6-8534-39BCAE68CA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978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YSDOH Generic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2.xml><?xml version="1.0" encoding="utf-8"?>
<a:theme xmlns:a="http://schemas.openxmlformats.org/drawingml/2006/main" name="NYSDOH Wadsworth Center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3.xml><?xml version="1.0" encoding="utf-8"?>
<a:theme xmlns:a="http://schemas.openxmlformats.org/drawingml/2006/main" name="NYSDOH Helen Hayes Hospital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4.xml><?xml version="1.0" encoding="utf-8"?>
<a:theme xmlns:a="http://schemas.openxmlformats.org/drawingml/2006/main" name="NYSDOH Veterans Homes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5.xml><?xml version="1.0" encoding="utf-8"?>
<a:theme xmlns:a="http://schemas.openxmlformats.org/drawingml/2006/main" name="NYSDOH Division of State EMS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6.xml><?xml version="1.0" encoding="utf-8"?>
<a:theme xmlns:a="http://schemas.openxmlformats.org/drawingml/2006/main" name="NYSDOH Medicaid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7.xml><?xml version="1.0" encoding="utf-8"?>
<a:theme xmlns:a="http://schemas.openxmlformats.org/drawingml/2006/main" name="1_NYSDOH AIDS Institute Template, Spring 2025">
  <a:themeElements>
    <a:clrScheme name="New York State Brand">
      <a:dk1>
        <a:srgbClr val="43275D"/>
      </a:dk1>
      <a:lt1>
        <a:srgbClr val="FFFFFF"/>
      </a:lt1>
      <a:dk2>
        <a:srgbClr val="8B7FA0"/>
      </a:dk2>
      <a:lt2>
        <a:srgbClr val="EEF6FA"/>
      </a:lt2>
      <a:accent1>
        <a:srgbClr val="F9CD00"/>
      </a:accent1>
      <a:accent2>
        <a:srgbClr val="144872"/>
      </a:accent2>
      <a:accent3>
        <a:srgbClr val="4579A4"/>
      </a:accent3>
      <a:accent4>
        <a:srgbClr val="EEF6FA"/>
      </a:accent4>
      <a:accent5>
        <a:srgbClr val="43275D"/>
      </a:accent5>
      <a:accent6>
        <a:srgbClr val="6F5091"/>
      </a:accent6>
      <a:hlink>
        <a:srgbClr val="044DD0"/>
      </a:hlink>
      <a:folHlink>
        <a:srgbClr val="044DD0"/>
      </a:folHlink>
    </a:clrScheme>
    <a:fontScheme name="NYS DOH">
      <a:majorFont>
        <a:latin typeface="Oswa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S_DOH" id="{5F59667C-6BAB-49F7-B30F-3DC48051AD95}" vid="{103CA3C4-E86B-4B43-B3EA-F46E34AE706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019A5E943894FB3B9272D81363598" ma:contentTypeVersion="6" ma:contentTypeDescription="Create a new document." ma:contentTypeScope="" ma:versionID="a893e27b69c3b5031f327a454308191a">
  <xsd:schema xmlns:xsd="http://www.w3.org/2001/XMLSchema" xmlns:xs="http://www.w3.org/2001/XMLSchema" xmlns:p="http://schemas.microsoft.com/office/2006/metadata/properties" xmlns:ns2="f4167ae0-eb43-4075-b4ae-ee43c055706b" xmlns:ns3="453b26d5-8849-47b5-a2a8-70208598b446" targetNamespace="http://schemas.microsoft.com/office/2006/metadata/properties" ma:root="true" ma:fieldsID="93731764da1c91b2233f50f7ed90ceda" ns2:_="" ns3:_="">
    <xsd:import namespace="f4167ae0-eb43-4075-b4ae-ee43c055706b"/>
    <xsd:import namespace="453b26d5-8849-47b5-a2a8-70208598b4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67ae0-eb43-4075-b4ae-ee43c05570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3b26d5-8849-47b5-a2a8-70208598b44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5D22278-30FA-483F-B150-CE6BDA037B59}">
  <ds:schemaRefs>
    <ds:schemaRef ds:uri="453b26d5-8849-47b5-a2a8-70208598b446"/>
    <ds:schemaRef ds:uri="f4167ae0-eb43-4075-b4ae-ee43c05570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B049008-70CF-4A71-A8B5-2E5484CB15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DB120F-7F49-4AE3-9EFC-2D7764EDE059}">
  <ds:schemaRefs>
    <ds:schemaRef ds:uri="http://purl.org/dc/elements/1.1/"/>
    <ds:schemaRef ds:uri="http://schemas.microsoft.com/office/2006/metadata/properties"/>
    <ds:schemaRef ds:uri="f4167ae0-eb43-4075-b4ae-ee43c055706b"/>
    <ds:schemaRef ds:uri="453b26d5-8849-47b5-a2a8-70208598b446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f46cb8ea-7900-4d10-8ceb-80e8c1c81ee7}" enabled="0" method="" siteId="{f46cb8ea-7900-4d10-8ceb-80e8c1c81ee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5</TotalTime>
  <Words>2202</Words>
  <Application>Microsoft Office PowerPoint</Application>
  <PresentationFormat>Widescreen</PresentationFormat>
  <Paragraphs>326</Paragraphs>
  <Slides>39</Slides>
  <Notes>3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4" baseType="lpstr">
      <vt:lpstr>Aptos</vt:lpstr>
      <vt:lpstr>Arial</vt:lpstr>
      <vt:lpstr>Calibri</vt:lpstr>
      <vt:lpstr>Courier New</vt:lpstr>
      <vt:lpstr>Oswald</vt:lpstr>
      <vt:lpstr>Verdana</vt:lpstr>
      <vt:lpstr>Wingdings</vt:lpstr>
      <vt:lpstr>NYSDOH Generic Template, Spring 2025</vt:lpstr>
      <vt:lpstr>NYSDOH Wadsworth Center Template, Spring 2025</vt:lpstr>
      <vt:lpstr>NYSDOH Helen Hayes Hospital Template, Spring 2025</vt:lpstr>
      <vt:lpstr>NYSDOH Veterans Homes Template, Spring 2025</vt:lpstr>
      <vt:lpstr>NYSDOH Division of State EMS Template, Spring 2025</vt:lpstr>
      <vt:lpstr>NYSDOH Medicaid Template, Spring 2025</vt:lpstr>
      <vt:lpstr>1_NYSDOH AIDS Institute Template, Spring 2025</vt:lpstr>
      <vt:lpstr>think-cell Slide</vt:lpstr>
      <vt:lpstr>THE OFFICE OF LOCAL HEALTH SERVICES – Reorganization </vt:lpstr>
      <vt:lpstr>New York State Department of Health</vt:lpstr>
      <vt:lpstr>New York State Department of Health</vt:lpstr>
      <vt:lpstr>New York State Department of Health</vt:lpstr>
      <vt:lpstr>New Division of Public Health Infrastructure</vt:lpstr>
      <vt:lpstr>Office of Local Health Services</vt:lpstr>
      <vt:lpstr>Prevention Agenda Across the Department</vt:lpstr>
      <vt:lpstr>Questions?  Mark.Waldenmaier@health.ny.gov </vt:lpstr>
      <vt:lpstr>PowerPoint Presentation</vt:lpstr>
      <vt:lpstr>2025 END OF YEAR SUMMARY   NEW YORK STATE PREVENTION AGENDA​</vt:lpstr>
      <vt:lpstr>Prevention Agenda Status</vt:lpstr>
      <vt:lpstr>Prevention Agenda Timeline 2025-2026</vt:lpstr>
      <vt:lpstr>PowerPoint Presentation</vt:lpstr>
      <vt:lpstr>OVERVIEW OF THE STATE HEALTH ASSESSMENT</vt:lpstr>
      <vt:lpstr>DESCRIPTION OF POPULATIONS</vt:lpstr>
      <vt:lpstr>FINDINGS OF THE STATE HEALTH ASSESSMENT</vt:lpstr>
      <vt:lpstr>FINDINGS OF THE STATE HEALTH ASSESSMENT</vt:lpstr>
      <vt:lpstr>PROCESS OF THE STATE HEALTH ASSESSMENT</vt:lpstr>
      <vt:lpstr>PowerPoint Presentation</vt:lpstr>
      <vt:lpstr>PowerPoint Presentation</vt:lpstr>
      <vt:lpstr>COMMUNITY PLANNING SUBMISSION TIMELINE</vt:lpstr>
      <vt:lpstr>PowerPoint Presentation</vt:lpstr>
      <vt:lpstr>PowerPoint Presentation</vt:lpstr>
      <vt:lpstr>2025 RESOURCES </vt:lpstr>
      <vt:lpstr>PowerPoint Presentation</vt:lpstr>
      <vt:lpstr>PowerPoint Presentation</vt:lpstr>
      <vt:lpstr>Implementation​</vt:lpstr>
      <vt:lpstr>PowerPoint Presentation</vt:lpstr>
      <vt:lpstr>PowerPoint Presentation</vt:lpstr>
      <vt:lpstr>PREVENTION AGENDA 101</vt:lpstr>
      <vt:lpstr>PowerPoint Presentation</vt:lpstr>
      <vt:lpstr>PowerPoint Presentation</vt:lpstr>
      <vt:lpstr>INTERAGENCY TASKFORCE</vt:lpstr>
      <vt:lpstr>2026 WORKGROUP DEVELOPMENT</vt:lpstr>
      <vt:lpstr>PowerPoint Presentation</vt:lpstr>
      <vt:lpstr>Questions?  Elizabeth.Whalen@health.ny.gov  Mark.Waldenmaier@health.ny.gov prevention@health.ny.gov  </vt:lpstr>
      <vt:lpstr>Public Health Committee Meetings in 2026</vt:lpstr>
      <vt:lpstr>2026 Meeting Schedule  </vt:lpstr>
      <vt:lpstr>PowerPoint Presentation</vt:lpstr>
    </vt:vector>
  </TitlesOfParts>
  <Manager>Kyle Kotary</Manager>
  <Company>New York State Department of Health</Company>
  <LinksUpToDate>false</LinksUpToDate>
  <SharedDoc>false</SharedDoc>
  <HyperlinkBase>https://nysemail.sharepoint.com/sites/HealthIntranet/pag/SitePages/branding.aspx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artment of Health PowerPoint Template</dc:title>
  <dc:subject/>
  <dc:creator>Michael Wren</dc:creator>
  <cp:keywords/>
  <dc:description/>
  <cp:lastModifiedBy>Waldenmaier, Mark (HEALTH)</cp:lastModifiedBy>
  <cp:revision>1</cp:revision>
  <cp:lastPrinted>2026-02-18T14:52:00Z</cp:lastPrinted>
  <dcterms:modified xsi:type="dcterms:W3CDTF">2026-02-18T15:38:0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final9</vt:lpwstr>
  </property>
  <property fmtid="{D5CDD505-2E9C-101B-9397-08002B2CF9AE}" pid="3" name="MediaServiceImageTags">
    <vt:lpwstr/>
  </property>
  <property fmtid="{D5CDD505-2E9C-101B-9397-08002B2CF9AE}" pid="4" name="ContentTypeId">
    <vt:lpwstr>0x010100CD4019A5E943894FB3B9272D81363598</vt:lpwstr>
  </property>
</Properties>
</file>